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1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4.xml" ContentType="application/vnd.openxmlformats-officedocument.drawingml.chart+xml"/>
  <Override PartName="/ppt/notesSlides/notesSlide16.xml" ContentType="application/vnd.openxmlformats-officedocument.presentationml.notesSlide+xml"/>
  <Override PartName="/ppt/charts/chart5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7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8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9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2" r:id="rId1"/>
    <p:sldMasterId id="2147484092" r:id="rId2"/>
    <p:sldMasterId id="2147484104" r:id="rId3"/>
    <p:sldMasterId id="2147484128" r:id="rId4"/>
    <p:sldMasterId id="2147484140" r:id="rId5"/>
    <p:sldMasterId id="2147484152" r:id="rId6"/>
    <p:sldMasterId id="2147484164" r:id="rId7"/>
    <p:sldMasterId id="2147484176" r:id="rId8"/>
    <p:sldMasterId id="2147484188" r:id="rId9"/>
    <p:sldMasterId id="2147484236" r:id="rId10"/>
    <p:sldMasterId id="2147484248" r:id="rId11"/>
    <p:sldMasterId id="2147484260" r:id="rId12"/>
    <p:sldMasterId id="2147484272" r:id="rId13"/>
  </p:sldMasterIdLst>
  <p:notesMasterIdLst>
    <p:notesMasterId r:id="rId34"/>
  </p:notesMasterIdLst>
  <p:sldIdLst>
    <p:sldId id="401" r:id="rId14"/>
    <p:sldId id="418" r:id="rId15"/>
    <p:sldId id="417" r:id="rId16"/>
    <p:sldId id="413" r:id="rId17"/>
    <p:sldId id="415" r:id="rId18"/>
    <p:sldId id="416" r:id="rId19"/>
    <p:sldId id="381" r:id="rId20"/>
    <p:sldId id="402" r:id="rId21"/>
    <p:sldId id="403" r:id="rId22"/>
    <p:sldId id="388" r:id="rId23"/>
    <p:sldId id="404" r:id="rId24"/>
    <p:sldId id="405" r:id="rId25"/>
    <p:sldId id="391" r:id="rId26"/>
    <p:sldId id="395" r:id="rId27"/>
    <p:sldId id="392" r:id="rId28"/>
    <p:sldId id="393" r:id="rId29"/>
    <p:sldId id="396" r:id="rId30"/>
    <p:sldId id="394" r:id="rId31"/>
    <p:sldId id="389" r:id="rId32"/>
    <p:sldId id="419" r:id="rId3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FF"/>
    <a:srgbClr val="3366FF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7" autoAdjust="0"/>
    <p:restoredTop sz="94660"/>
  </p:normalViewPr>
  <p:slideViewPr>
    <p:cSldViewPr>
      <p:cViewPr>
        <p:scale>
          <a:sx n="80" d="100"/>
          <a:sy n="80" d="100"/>
        </p:scale>
        <p:origin x="-1680" y="-23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2154903127970552E-2"/>
          <c:y val="3.2637272759167113E-2"/>
          <c:w val="0.86484843601135974"/>
          <c:h val="0.76747119472105441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ъемные сооружения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0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  <c:pt idx="4">
                  <c:v>3</c:v>
                </c:pt>
                <c:pt idx="5">
                  <c:v>3</c:v>
                </c:pt>
              </c:numCache>
            </c:numRef>
          </c:val>
        </c:ser>
        <c:ser>
          <c:idx val="1"/>
          <c:order val="1"/>
          <c:tx>
            <c:strRef>
              <c:f>Лист1!$D$1</c:f>
              <c:strCache>
                <c:ptCount val="1"/>
                <c:pt idx="0">
                  <c:v>всего аварий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7</c:v>
                </c:pt>
                <c:pt idx="1">
                  <c:v>10</c:v>
                </c:pt>
                <c:pt idx="2">
                  <c:v>4</c:v>
                </c:pt>
                <c:pt idx="3">
                  <c:v>5</c:v>
                </c:pt>
                <c:pt idx="4">
                  <c:v>10</c:v>
                </c:pt>
                <c:pt idx="5">
                  <c:v>7</c:v>
                </c:pt>
              </c:numCache>
            </c:numRef>
          </c:val>
        </c:ser>
        <c:ser>
          <c:idx val="2"/>
          <c:order val="2"/>
          <c:tx>
            <c:strRef>
              <c:f>Лист1!#ССЫЛКА!</c:f>
              <c:strCache>
                <c:ptCount val="1"/>
                <c:pt idx="0">
                  <c:v>#REF!</c:v>
                </c:pt>
              </c:strCache>
            </c:strRef>
          </c:tx>
          <c:invertIfNegative val="0"/>
          <c:cat>
            <c:numRef>
              <c:f>Лист1!$A$2:$A$7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Лист1!#ССЫЛКА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64609280"/>
        <c:axId val="64639744"/>
        <c:axId val="64616192"/>
      </c:bar3DChart>
      <c:catAx>
        <c:axId val="64609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64639744"/>
        <c:crosses val="autoZero"/>
        <c:auto val="1"/>
        <c:lblAlgn val="ctr"/>
        <c:lblOffset val="100"/>
        <c:noMultiLvlLbl val="0"/>
      </c:catAx>
      <c:valAx>
        <c:axId val="6463974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aseline="0"/>
            </a:pPr>
            <a:endParaRPr lang="ru-RU"/>
          </a:p>
        </c:txPr>
        <c:crossAx val="64609280"/>
        <c:crosses val="autoZero"/>
        <c:crossBetween val="between"/>
      </c:valAx>
      <c:serAx>
        <c:axId val="64616192"/>
        <c:scaling>
          <c:orientation val="minMax"/>
        </c:scaling>
        <c:delete val="1"/>
        <c:axPos val="b"/>
        <c:majorTickMark val="out"/>
        <c:minorTickMark val="none"/>
        <c:tickLblPos val="nextTo"/>
        <c:crossAx val="64639744"/>
        <c:crosses val="autoZero"/>
      </c:serAx>
    </c:plotArea>
    <c:legend>
      <c:legendPos val="r"/>
      <c:layout>
        <c:manualLayout>
          <c:xMode val="edge"/>
          <c:yMode val="edge"/>
          <c:x val="2.2921288315635176E-2"/>
          <c:y val="0.86753379793625141"/>
          <c:w val="0.7921754213689518"/>
          <c:h val="0.118507851008200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339706977635193"/>
          <c:y val="1.9572320247245256E-2"/>
          <c:w val="0.85060213759323988"/>
          <c:h val="0.86041774579159314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ъемные сооружения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сего смертельных несчастных случаев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21</c:v>
                </c:pt>
                <c:pt idx="1">
                  <c:v>76</c:v>
                </c:pt>
                <c:pt idx="2">
                  <c:v>11</c:v>
                </c:pt>
                <c:pt idx="3">
                  <c:v>13</c:v>
                </c:pt>
                <c:pt idx="4">
                  <c:v>12</c:v>
                </c:pt>
                <c:pt idx="5">
                  <c:v>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64994688"/>
        <c:axId val="65000576"/>
        <c:axId val="64688576"/>
      </c:bar3DChart>
      <c:catAx>
        <c:axId val="64994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65000576"/>
        <c:crosses val="autoZero"/>
        <c:auto val="1"/>
        <c:lblAlgn val="ctr"/>
        <c:lblOffset val="100"/>
        <c:noMultiLvlLbl val="0"/>
      </c:catAx>
      <c:valAx>
        <c:axId val="6500057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aseline="0"/>
            </a:pPr>
            <a:endParaRPr lang="ru-RU"/>
          </a:p>
        </c:txPr>
        <c:crossAx val="64994688"/>
        <c:crosses val="autoZero"/>
        <c:crossBetween val="between"/>
      </c:valAx>
      <c:serAx>
        <c:axId val="64688576"/>
        <c:scaling>
          <c:orientation val="minMax"/>
        </c:scaling>
        <c:delete val="1"/>
        <c:axPos val="b"/>
        <c:majorTickMark val="out"/>
        <c:minorTickMark val="none"/>
        <c:tickLblPos val="nextTo"/>
        <c:crossAx val="65000576"/>
        <c:crosses val="autoZero"/>
      </c:serAx>
    </c:plotArea>
    <c:legend>
      <c:legendPos val="r"/>
      <c:layout>
        <c:manualLayout>
          <c:xMode val="edge"/>
          <c:yMode val="edge"/>
          <c:x val="3.642230276568055E-2"/>
          <c:y val="0.86982434852115997"/>
          <c:w val="0.9190855749557707"/>
          <c:h val="0.1047648746098918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603798596974603E-2"/>
          <c:y val="0.19480351414406533"/>
          <c:w val="0.83368633119737512"/>
          <c:h val="0.71633536249633367"/>
        </c:manualLayout>
      </c:layout>
      <c:barChart>
        <c:barDir val="col"/>
        <c:grouping val="clustered"/>
        <c:varyColors val="0"/>
        <c:ser>
          <c:idx val="0"/>
          <c:order val="1"/>
          <c:tx>
            <c:strRef>
              <c:f>'Данные 2014-2025'!$A$3</c:f>
              <c:strCache>
                <c:ptCount val="1"/>
                <c:pt idx="0">
                  <c:v>добыча угля, млн.тонн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000000"/>
              </a:solidFill>
              <a:prstDash val="solid"/>
            </a:ln>
            <a:effectLst/>
          </c:spPr>
          <c:invertIfNegative val="0"/>
          <c:dLbls>
            <c:dLbl>
              <c:idx val="0"/>
              <c:layout>
                <c:manualLayout>
                  <c:x val="-3.7077426814901117E-3"/>
                  <c:y val="3.552769040778934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3540559493504833E-3"/>
                  <c:y val="-1.690418699426367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8.8342565061152456E-3"/>
                  <c:y val="-4.418721526269579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7.7956019748936191E-3"/>
                  <c:y val="-8.3154377745790428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8.6513995901435943E-3"/>
                  <c:y val="1.77638452038946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1.1276682336713473E-2"/>
                  <c:y val="7.805844269466335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5.7696758031544814E-3"/>
                  <c:y val="-5.3879001358584473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7.4047805940835327E-4"/>
                  <c:y val="6.415265828949836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анные 2014-2025'!$B$2:$M$2</c:f>
              <c:strCache>
                <c:ptCount val="12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 12 мес.</c:v>
                </c:pt>
              </c:strCache>
            </c:strRef>
          </c:cat>
          <c:val>
            <c:numRef>
              <c:f>'Данные 2014-2025'!$B$3:$M$3</c:f>
              <c:numCache>
                <c:formatCode>General</c:formatCode>
                <c:ptCount val="12"/>
                <c:pt idx="0">
                  <c:v>210.9</c:v>
                </c:pt>
                <c:pt idx="1">
                  <c:v>215.8</c:v>
                </c:pt>
                <c:pt idx="2">
                  <c:v>227.4</c:v>
                </c:pt>
                <c:pt idx="3">
                  <c:v>241.4</c:v>
                </c:pt>
                <c:pt idx="4">
                  <c:v>255.3</c:v>
                </c:pt>
                <c:pt idx="5">
                  <c:v>250.1</c:v>
                </c:pt>
                <c:pt idx="6">
                  <c:v>220.7</c:v>
                </c:pt>
                <c:pt idx="7">
                  <c:v>243.1</c:v>
                </c:pt>
                <c:pt idx="8">
                  <c:v>223.6</c:v>
                </c:pt>
                <c:pt idx="9">
                  <c:v>214.2</c:v>
                </c:pt>
                <c:pt idx="10">
                  <c:v>198.4</c:v>
                </c:pt>
                <c:pt idx="11">
                  <c:v>19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746816"/>
        <c:axId val="134422528"/>
      </c:barChart>
      <c:lineChart>
        <c:grouping val="standard"/>
        <c:varyColors val="0"/>
        <c:ser>
          <c:idx val="1"/>
          <c:order val="0"/>
          <c:tx>
            <c:strRef>
              <c:f>'Данные 2014-2025'!$A$5</c:f>
              <c:strCache>
                <c:ptCount val="1"/>
                <c:pt idx="0">
                  <c:v>смертельный травматизм, чел.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olid"/>
            </a:ln>
          </c:spPr>
          <c:marker>
            <c:symbol val="square"/>
            <c:size val="8"/>
            <c:spPr>
              <a:solidFill>
                <a:srgbClr val="FF0000"/>
              </a:solidFill>
              <a:ln>
                <a:solidFill>
                  <a:srgbClr val="FF000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6.9292942229087114E-3"/>
                  <c:y val="-2.21176657524113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8783852615184771E-2"/>
                  <c:y val="2.96219811778772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7043451824744659E-2"/>
                  <c:y val="3.0267773881077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8492293636871271E-2"/>
                  <c:y val="2.85597871583624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0362806027446639E-2"/>
                  <c:y val="2.99541790704697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1702556512907908E-2"/>
                  <c:y val="3.34719799120284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607535145216029E-2"/>
                  <c:y val="2.58221967778063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7.4057177393216092E-3"/>
                  <c:y val="-2.63248293963254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4291467890461801E-3"/>
                  <c:y val="-2.28794130042256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9237755215436227E-2"/>
                  <c:y val="-3.42911643308706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6.8140598652514407E-3"/>
                  <c:y val="-3.91810573113541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9412622039404306E-3"/>
                  <c:y val="-1.96276585797268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4.9593392697160803E-4"/>
                  <c:y val="-2.0014337146890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7.1506883069084488E-3"/>
                  <c:y val="-2.90829114186976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6.953525927047584E-3"/>
                  <c:y val="-3.7197631729752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1.1699923139759321E-2"/>
                  <c:y val="-3.22924326159304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1.9852967079721527E-2"/>
                  <c:y val="-3.12831105136366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1.8288296454682062E-2"/>
                  <c:y val="-2.48458647196896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1.1108144051933999E-2"/>
                  <c:y val="-3.04861153170084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9.681310727523899E-3"/>
                  <c:y val="-3.00599825021872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1.7821785839614922E-2"/>
                  <c:y val="-2.50064586263959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-1.4531626461176625E-2"/>
                  <c:y val="-3.65466637330677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-8.1610968545365974E-3"/>
                  <c:y val="-3.64220472440944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5.1783777724163241E-3"/>
                  <c:y val="-4.25014873140857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>
                <c:manualLayout>
                  <c:x val="-6.8380867433353257E-3"/>
                  <c:y val="-2.19628346456692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5"/>
              <c:layout>
                <c:manualLayout>
                  <c:x val="-2.101899962474315E-2"/>
                  <c:y val="-2.90238184677113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6"/>
              <c:layout>
                <c:manualLayout>
                  <c:x val="-2.1137145135032072E-2"/>
                  <c:y val="-2.50677224881297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7"/>
              <c:layout>
                <c:manualLayout>
                  <c:x val="-6.7534733645764264E-4"/>
                  <c:y val="-2.28149081364828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8"/>
              <c:layout>
                <c:manualLayout>
                  <c:x val="-5.1206691085620209E-3"/>
                  <c:y val="-2.33535608048993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accent2">
                  <a:lumMod val="20000"/>
                  <a:lumOff val="80000"/>
                </a:schemeClr>
              </a:solidFill>
              <a:ln w="6350">
                <a:solidFill>
                  <a:srgbClr val="C00000"/>
                </a:solidFill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FF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анные 2014-2025'!$B$2:$M$2</c:f>
              <c:strCache>
                <c:ptCount val="12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 12 мес.</c:v>
                </c:pt>
              </c:strCache>
            </c:strRef>
          </c:cat>
          <c:val>
            <c:numRef>
              <c:f>'Данные 2014-2025'!$B$5:$M$5</c:f>
              <c:numCache>
                <c:formatCode>General</c:formatCode>
                <c:ptCount val="12"/>
                <c:pt idx="0">
                  <c:v>19</c:v>
                </c:pt>
                <c:pt idx="1">
                  <c:v>14</c:v>
                </c:pt>
                <c:pt idx="2">
                  <c:v>12</c:v>
                </c:pt>
                <c:pt idx="3">
                  <c:v>11</c:v>
                </c:pt>
                <c:pt idx="4">
                  <c:v>8</c:v>
                </c:pt>
                <c:pt idx="5">
                  <c:v>9</c:v>
                </c:pt>
                <c:pt idx="6">
                  <c:v>11</c:v>
                </c:pt>
                <c:pt idx="7">
                  <c:v>64</c:v>
                </c:pt>
                <c:pt idx="8">
                  <c:v>6</c:v>
                </c:pt>
                <c:pt idx="9">
                  <c:v>8</c:v>
                </c:pt>
                <c:pt idx="10">
                  <c:v>6</c:v>
                </c:pt>
                <c:pt idx="11">
                  <c:v>1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746816"/>
        <c:axId val="134422528"/>
      </c:lineChart>
      <c:lineChart>
        <c:grouping val="stacked"/>
        <c:varyColors val="0"/>
        <c:ser>
          <c:idx val="2"/>
          <c:order val="2"/>
          <c:tx>
            <c:strRef>
              <c:f>'Данные 2014-2025'!$A$4</c:f>
              <c:strCache>
                <c:ptCount val="1"/>
                <c:pt idx="0">
                  <c:v>общий травматизм, чел.</c:v>
                </c:pt>
              </c:strCache>
            </c:strRef>
          </c:tx>
          <c:spPr>
            <a:ln w="38100">
              <a:solidFill>
                <a:srgbClr val="0000FF"/>
              </a:solidFill>
              <a:prstDash val="solid"/>
            </a:ln>
          </c:spPr>
          <c:marker>
            <c:symbol val="triangle"/>
            <c:size val="9"/>
            <c:spPr>
              <a:solidFill>
                <a:srgbClr val="FFFF00"/>
              </a:solidFill>
              <a:ln>
                <a:solidFill>
                  <a:srgbClr val="0000FF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1.4047867971935262E-2"/>
                  <c:y val="-2.35457567804024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7.4154853629802234E-3"/>
                  <c:y val="-1.77638452038946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4581965555141269E-2"/>
                  <c:y val="-2.08284164479440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8.6513995901435943E-3"/>
                  <c:y val="-2.30929987650630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448228720817097E-2"/>
                  <c:y val="-2.43143680274284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9.8873138173069652E-3"/>
                  <c:y val="-2.13166142446736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8538713407450558E-2"/>
                  <c:y val="-2.66457678058420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3238101114132884E-2"/>
                  <c:y val="-1.17483358284309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5728826405044665E-2"/>
                  <c:y val="7.105538081557869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4.078516949639123E-2"/>
                  <c:y val="1.59874606835052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1.977462763461393E-2"/>
                  <c:y val="-2.48693832854525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1.0944654570436016E-2"/>
                  <c:y val="-5.175493814372531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69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4.9436569086534826E-3"/>
                  <c:y val="-2.30929987650630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2.471828454326741E-2"/>
                  <c:y val="2.66457678058420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2.5182676881222027E-2"/>
                  <c:y val="2.44858520764046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2.249490404342477E-2"/>
                  <c:y val="2.2250125291057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2.2617522305332319E-2"/>
                  <c:y val="2.27774457352994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1.5318524291164265E-2"/>
                  <c:y val="1.57509357839793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1.1080992865368846E-2"/>
                  <c:y val="1.61365650849804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1.3669211352426878E-2"/>
                  <c:y val="2.2160187082663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1.7800862882225939E-2"/>
                  <c:y val="1.54169195450273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-5.551882414147267E-3"/>
                  <c:y val="1.17006392046944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7.0044865561721169E-3"/>
                  <c:y val="-7.8859142607173478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2.2635053626654018E-4"/>
                  <c:y val="-5.235905511811008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>
                <c:manualLayout>
                  <c:x val="6.4704864538172287E-3"/>
                  <c:y val="-9.812913385826795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5"/>
              <c:layout>
                <c:manualLayout>
                  <c:x val="3.8821748952690112E-3"/>
                  <c:y val="-1.07075415573053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6"/>
              <c:layout>
                <c:manualLayout>
                  <c:x val="-1.7276141317989862E-2"/>
                  <c:y val="1.96413648293963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7"/>
              <c:layout>
                <c:manualLayout>
                  <c:x val="2.4196696861360123E-3"/>
                  <c:y val="2.41392825896763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accent5">
                  <a:lumMod val="20000"/>
                  <a:lumOff val="80000"/>
                </a:schemeClr>
              </a:solidFill>
              <a:ln w="6350">
                <a:solidFill>
                  <a:srgbClr val="0070C0"/>
                </a:solidFill>
              </a:ln>
            </c:spPr>
            <c:txPr>
              <a:bodyPr/>
              <a:lstStyle/>
              <a:p>
                <a:pPr>
                  <a:defRPr sz="1100" b="1" i="0" u="none" strike="noStrike" baseline="0">
                    <a:solidFill>
                      <a:srgbClr val="0000FF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Данные 2014-2025'!$B$4:$M$4</c:f>
              <c:numCache>
                <c:formatCode>General</c:formatCode>
                <c:ptCount val="12"/>
                <c:pt idx="0">
                  <c:v>222</c:v>
                </c:pt>
                <c:pt idx="1">
                  <c:v>188</c:v>
                </c:pt>
                <c:pt idx="2">
                  <c:v>175</c:v>
                </c:pt>
                <c:pt idx="3">
                  <c:v>127</c:v>
                </c:pt>
                <c:pt idx="4">
                  <c:v>118</c:v>
                </c:pt>
                <c:pt idx="5">
                  <c:v>114</c:v>
                </c:pt>
                <c:pt idx="6">
                  <c:v>106</c:v>
                </c:pt>
                <c:pt idx="7">
                  <c:v>245</c:v>
                </c:pt>
                <c:pt idx="8">
                  <c:v>108</c:v>
                </c:pt>
                <c:pt idx="9">
                  <c:v>84</c:v>
                </c:pt>
                <c:pt idx="10">
                  <c:v>85</c:v>
                </c:pt>
                <c:pt idx="11">
                  <c:v>6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4518272"/>
        <c:axId val="134627328"/>
      </c:lineChart>
      <c:catAx>
        <c:axId val="65746816"/>
        <c:scaling>
          <c:orientation val="minMax"/>
        </c:scaling>
        <c:delete val="0"/>
        <c:axPos val="b"/>
        <c:minorGridlines>
          <c:spPr>
            <a:ln w="9525">
              <a:prstDash val="sysDash"/>
            </a:ln>
          </c:spPr>
        </c:minorGridlines>
        <c:numFmt formatCode="General" sourceLinked="1"/>
        <c:majorTickMark val="out"/>
        <c:minorTickMark val="none"/>
        <c:tickLblPos val="nextTo"/>
        <c:txPr>
          <a:bodyPr rot="-2100000" vert="horz"/>
          <a:lstStyle/>
          <a:p>
            <a:pPr>
              <a:defRPr sz="800" b="1"/>
            </a:pPr>
            <a:endParaRPr lang="ru-RU"/>
          </a:p>
        </c:txPr>
        <c:crossAx val="134422528"/>
        <c:crosses val="autoZero"/>
        <c:auto val="1"/>
        <c:lblAlgn val="ctr"/>
        <c:lblOffset val="100"/>
        <c:noMultiLvlLbl val="0"/>
      </c:catAx>
      <c:valAx>
        <c:axId val="134422528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ru-RU"/>
                  <a:t>добыча угля,</a:t>
                </a:r>
                <a:r>
                  <a:rPr lang="ru-RU" baseline="0"/>
                  <a:t> </a:t>
                </a:r>
                <a:r>
                  <a:rPr lang="ru-RU"/>
                  <a:t>млн.тонн и 
смертельный травматизм,</a:t>
                </a:r>
                <a:r>
                  <a:rPr lang="ru-RU" baseline="0"/>
                  <a:t> </a:t>
                </a:r>
                <a:r>
                  <a:rPr lang="ru-RU"/>
                  <a:t>чел.</a:t>
                </a:r>
              </a:p>
            </c:rich>
          </c:tx>
          <c:layout>
            <c:manualLayout>
              <c:xMode val="edge"/>
              <c:yMode val="edge"/>
              <c:x val="0"/>
              <c:y val="0.293333423133431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65746816"/>
        <c:crosses val="autoZero"/>
        <c:crossBetween val="between"/>
      </c:valAx>
      <c:catAx>
        <c:axId val="134518272"/>
        <c:scaling>
          <c:orientation val="minMax"/>
        </c:scaling>
        <c:delete val="1"/>
        <c:axPos val="b"/>
        <c:majorTickMark val="out"/>
        <c:minorTickMark val="none"/>
        <c:tickLblPos val="nextTo"/>
        <c:crossAx val="134627328"/>
        <c:crosses val="autoZero"/>
        <c:auto val="1"/>
        <c:lblAlgn val="ctr"/>
        <c:lblOffset val="100"/>
        <c:noMultiLvlLbl val="0"/>
      </c:catAx>
      <c:valAx>
        <c:axId val="134627328"/>
        <c:scaling>
          <c:orientation val="minMax"/>
        </c:scaling>
        <c:delete val="0"/>
        <c:axPos val="r"/>
        <c:title>
          <c:tx>
            <c:rich>
              <a:bodyPr rot="540000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r>
                  <a:rPr lang="ru-RU"/>
                  <a:t>общий травматизм, чел.</a:t>
                </a:r>
              </a:p>
            </c:rich>
          </c:tx>
          <c:layout>
            <c:manualLayout>
              <c:xMode val="edge"/>
              <c:yMode val="edge"/>
              <c:x val="0.97307337227853208"/>
              <c:y val="0.3253332671057611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34518272"/>
        <c:crosses val="max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9.5353903716841916E-4"/>
          <c:y val="0.10666680136681361"/>
          <c:w val="0.99716366755866492"/>
          <c:h val="6.9333252513245153E-2"/>
        </c:manualLayout>
      </c:layout>
      <c:overlay val="0"/>
      <c:txPr>
        <a:bodyPr/>
        <a:lstStyle/>
        <a:p>
          <a:pPr>
            <a:defRPr sz="1200" i="1"/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  <c:spPr>
        <a:noFill/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890922189825784E-2"/>
          <c:y val="1.7124727825826448E-2"/>
          <c:w val="0.9110907781017421"/>
          <c:h val="0.8230724729416030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ыявлено индикаторов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5.439319484980956E-4"/>
                  <c:y val="-1.2739965065920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5267662729521985E-4"/>
                  <c:y val="-1.23799087179633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9.7919094461638382E-4"/>
                  <c:y val="-5.09608939182692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9.2966804994440294E-3"/>
                  <c:y val="-2.2931877677392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aseline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ПБ-1 (три и более инцидентов за год)</c:v>
                </c:pt>
                <c:pt idx="1">
                  <c:v>ПБ-3 (нет лицензии ВХ)</c:v>
                </c:pt>
                <c:pt idx="2">
                  <c:v>ПБ-6 (нет ЗЭПБ на ТУ)</c:v>
                </c:pt>
                <c:pt idx="3">
                  <c:v>ПБ-7 (нет ЗЭПБ на ЗС)</c:v>
                </c:pt>
                <c:pt idx="4">
                  <c:v>ПБ-8 (заведомоложное ЗЭПБ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3</c:v>
                </c:pt>
                <c:pt idx="1">
                  <c:v>10</c:v>
                </c:pt>
                <c:pt idx="2">
                  <c:v>6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ано заявлений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8593360998888059E-2"/>
                  <c:y val="-1.78359048601937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7.7472337495366906E-3"/>
                  <c:y val="-1.27399320429955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2395573999258705E-2"/>
                  <c:y val="-9.3425089060699714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0846127249351368E-2"/>
                  <c:y val="2.547986408599206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9.296680499444029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4.6483402497220147E-3"/>
                  <c:y val="-2.325581395348837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aseline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ПБ-1 (три и более инцидентов за год)</c:v>
                </c:pt>
                <c:pt idx="1">
                  <c:v>ПБ-3 (нет лицензии ВХ)</c:v>
                </c:pt>
                <c:pt idx="2">
                  <c:v>ПБ-6 (нет ЗЭПБ на ТУ)</c:v>
                </c:pt>
                <c:pt idx="3">
                  <c:v>ПБ-7 (нет ЗЭПБ на ЗС)</c:v>
                </c:pt>
                <c:pt idx="4">
                  <c:v>ПБ-8 (заведомоложное ЗЭПБ)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7</c:v>
                </c:pt>
                <c:pt idx="1">
                  <c:v>20</c:v>
                </c:pt>
                <c:pt idx="2">
                  <c:v>10</c:v>
                </c:pt>
                <c:pt idx="3">
                  <c:v>7</c:v>
                </c:pt>
                <c:pt idx="4">
                  <c:v>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огласовано КНМ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3945020749166044E-2"/>
                  <c:y val="-1.69892345748903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7.7472337495366342E-3"/>
                  <c:y val="-9.30232558139534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4.6483402497220147E-3"/>
                  <c:y val="-2.325581395348837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4.6483402497220147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aseline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ПБ-1 (три и более инцидентов за год)</c:v>
                </c:pt>
                <c:pt idx="1">
                  <c:v>ПБ-3 (нет лицензии ВХ)</c:v>
                </c:pt>
                <c:pt idx="2">
                  <c:v>ПБ-6 (нет ЗЭПБ на ТУ)</c:v>
                </c:pt>
                <c:pt idx="3">
                  <c:v>ПБ-7 (нет ЗЭПБ на ЗС)</c:v>
                </c:pt>
                <c:pt idx="4">
                  <c:v>ПБ-8 (заведомоложное ЗЭПБ)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1</c:v>
                </c:pt>
                <c:pt idx="1">
                  <c:v>5</c:v>
                </c:pt>
                <c:pt idx="2">
                  <c:v>5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44544128"/>
        <c:axId val="144547200"/>
        <c:axId val="0"/>
      </c:bar3DChart>
      <c:catAx>
        <c:axId val="144544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1560000" vert="horz"/>
          <a:lstStyle/>
          <a:p>
            <a:pPr>
              <a:defRPr sz="800" baseline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44547200"/>
        <c:crosses val="autoZero"/>
        <c:auto val="1"/>
        <c:lblAlgn val="ctr"/>
        <c:lblOffset val="40"/>
        <c:noMultiLvlLbl val="0"/>
      </c:catAx>
      <c:valAx>
        <c:axId val="14454720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44544128"/>
        <c:crosses val="autoZero"/>
        <c:crossBetween val="between"/>
      </c:valAx>
    </c:plotArea>
    <c:legend>
      <c:legendPos val="tr"/>
      <c:legendEntry>
        <c:idx val="0"/>
        <c:txPr>
          <a:bodyPr/>
          <a:lstStyle/>
          <a:p>
            <a:pPr>
              <a:defRPr sz="1420" b="0" i="0" baseline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420" b="0" i="0" baseline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420" b="0" i="0" baseline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67502731809715955"/>
          <c:y val="1.5366559111653704E-3"/>
          <c:w val="0.30858137891326393"/>
          <c:h val="0.30334626722348484"/>
        </c:manualLayout>
      </c:layout>
      <c:overlay val="1"/>
      <c:txPr>
        <a:bodyPr/>
        <a:lstStyle/>
        <a:p>
          <a:pPr>
            <a:defRPr sz="1420" b="0" i="0" baseline="0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  <c:spPr>
        <a:noFill/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5634840054394123E-2"/>
          <c:y val="4.7865857094783353E-2"/>
          <c:w val="0.72366565751953482"/>
          <c:h val="0.7590585748121384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ыявлено индикаторов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7.7472337495366906E-3"/>
                  <c:y val="-1.27399320429955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5494467499073381E-2"/>
                  <c:y val="-1.0191945634396453E-2"/>
                </c:manualLayout>
              </c:layout>
              <c:tx>
                <c:rich>
                  <a:bodyPr/>
                  <a:lstStyle/>
                  <a:p>
                    <a:r>
                      <a:rPr lang="ru-RU" sz="1700" baseline="0" dirty="0" smtClean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3945020749166044E-2"/>
                  <c:y val="-5.095972817198226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9.2966804994440294E-3"/>
                  <c:y val="-2.2931877677392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700" baseline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Э-4 (энерго надзор)</c:v>
                </c:pt>
                <c:pt idx="1">
                  <c:v>Г-4 (горный надзор)</c:v>
                </c:pt>
                <c:pt idx="2">
                  <c:v>ЛЭПБ-1 (лиц. эксперты)</c:v>
                </c:pt>
                <c:pt idx="3">
                  <c:v>ЛЭПБ-4 (лиц. эксперты)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правлено заявлений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8593360998888059E-2"/>
                  <c:y val="-1.78359048601937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7.7472337495366906E-3"/>
                  <c:y val="-1.27399320429955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2395573999258705E-2"/>
                  <c:y val="-9.3425089060699714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0846127249351368E-2"/>
                  <c:y val="2.547986408599206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700" baseline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Э-4 (энерго надзор)</c:v>
                </c:pt>
                <c:pt idx="1">
                  <c:v>Г-4 (горный надзор)</c:v>
                </c:pt>
                <c:pt idx="2">
                  <c:v>ЛЭПБ-1 (лиц. эксперты)</c:v>
                </c:pt>
                <c:pt idx="3">
                  <c:v>ЛЭПБ-4 (лиц. эксперты)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огласовано КНМ 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3945020749166044E-2"/>
                  <c:y val="-1.69892345748903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700" baseline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Э-4 (энерго надзор)</c:v>
                </c:pt>
                <c:pt idx="1">
                  <c:v>Г-4 (горный надзор)</c:v>
                </c:pt>
                <c:pt idx="2">
                  <c:v>ЛЭПБ-1 (лиц. эксперты)</c:v>
                </c:pt>
                <c:pt idx="3">
                  <c:v>ЛЭПБ-4 (лиц. эксперты)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41287424"/>
        <c:axId val="141288960"/>
        <c:axId val="0"/>
      </c:bar3DChart>
      <c:catAx>
        <c:axId val="141287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1560000" vert="horz"/>
          <a:lstStyle/>
          <a:p>
            <a: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41288960"/>
        <c:crosses val="autoZero"/>
        <c:auto val="1"/>
        <c:lblAlgn val="ctr"/>
        <c:lblOffset val="100"/>
        <c:noMultiLvlLbl val="0"/>
      </c:catAx>
      <c:valAx>
        <c:axId val="14128896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41287424"/>
        <c:crosses val="autoZero"/>
        <c:crossBetween val="between"/>
      </c:valAx>
    </c:plotArea>
    <c:legend>
      <c:legendPos val="tr"/>
      <c:legendEntry>
        <c:idx val="0"/>
        <c:txPr>
          <a:bodyPr/>
          <a:lstStyle/>
          <a:p>
            <a:pPr>
              <a:defRPr sz="1400" baseline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400" baseline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400" baseline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78258907385403387"/>
          <c:y val="8.0506927801672829E-4"/>
          <c:w val="0.21741093655095375"/>
          <c:h val="0.4571861063056486"/>
        </c:manualLayout>
      </c:layout>
      <c:overlay val="1"/>
      <c:txPr>
        <a:bodyPr/>
        <a:lstStyle/>
        <a:p>
          <a:pPr>
            <a:defRPr sz="1400" baseline="0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76DC6CB2-FFAE-4841-AA05-27722B363968}" type="datetimeFigureOut">
              <a:rPr lang="ru-RU" smtClean="0"/>
              <a:t>18.02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2" y="4716466"/>
            <a:ext cx="5438775" cy="446722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B3127B48-7296-4377-8E3D-FABDA14C31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7891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B9F8AB-398D-4441-9F85-708B14A86C38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6263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44563" y="1347788"/>
            <a:ext cx="4849812" cy="36385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2654">
              <a:defRPr/>
            </a:pPr>
            <a:fld id="{87CEB8FC-EDEB-4FB9-8E4E-90874AB43AF3}" type="slidenum">
              <a:rPr lang="ru-RU">
                <a:solidFill>
                  <a:prstClr val="black"/>
                </a:solidFill>
              </a:rPr>
              <a:pPr defTabSz="912654">
                <a:defRPr/>
              </a:pPr>
              <a:t>1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defTabSz="912654"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2592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44563" y="1347788"/>
            <a:ext cx="4849812" cy="36385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2654">
              <a:defRPr/>
            </a:pPr>
            <a:fld id="{87CEB8FC-EDEB-4FB9-8E4E-90874AB43AF3}" type="slidenum">
              <a:rPr lang="ru-RU">
                <a:solidFill>
                  <a:prstClr val="black"/>
                </a:solidFill>
              </a:rPr>
              <a:pPr defTabSz="912654">
                <a:defRPr/>
              </a:pPr>
              <a:t>1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defTabSz="912654"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2592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44563" y="1347788"/>
            <a:ext cx="4849812" cy="36385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2654">
              <a:defRPr/>
            </a:pPr>
            <a:fld id="{87CEB8FC-EDEB-4FB9-8E4E-90874AB43AF3}" type="slidenum">
              <a:rPr lang="ru-RU">
                <a:solidFill>
                  <a:prstClr val="black"/>
                </a:solidFill>
              </a:rPr>
              <a:pPr defTabSz="912654">
                <a:defRPr/>
              </a:pPr>
              <a:t>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defTabSz="912654"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2592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44563" y="1347788"/>
            <a:ext cx="4849812" cy="36385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2654">
              <a:defRPr/>
            </a:pPr>
            <a:fld id="{87CEB8FC-EDEB-4FB9-8E4E-90874AB43AF3}" type="slidenum">
              <a:rPr lang="ru-RU">
                <a:solidFill>
                  <a:prstClr val="black"/>
                </a:solidFill>
              </a:rPr>
              <a:pPr defTabSz="912654">
                <a:defRPr/>
              </a:pPr>
              <a:t>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defTabSz="912654"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2592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44563" y="1347788"/>
            <a:ext cx="4849812" cy="36385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2553">
              <a:defRPr/>
            </a:pPr>
            <a:fld id="{87CEB8FC-EDEB-4FB9-8E4E-90874AB43AF3}" type="slidenum">
              <a:rPr lang="ru-RU">
                <a:solidFill>
                  <a:prstClr val="black"/>
                </a:solidFill>
              </a:rPr>
              <a:pPr defTabSz="912553">
                <a:defRPr/>
              </a:pPr>
              <a:t>3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defTabSz="912553"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646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734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28911C-3700-4959-8429-91A364FB5A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432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3C0BA36-59A0-4801-A199-064D7298A38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248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9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FBD0B3-C3E6-4160-90E4-304BBE50A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56267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A62FA-DF27-42A2-9738-2BE644CAE04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91473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A8D44-9B32-4AC5-AA86-AEA08792ACE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66237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678F-6066-43A5-9F4D-56C31A57743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09275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8A11E-58C1-4E04-8AE7-CF44114D760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72323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F5EE6-1F25-4237-B060-FB8E4EA8E26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836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A72E1-359A-4A1E-A6B4-E2BBDDF5F15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82280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45D5F-9932-4B9B-BC6D-F91CF9D4CE7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66085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59460-E593-4E36-920C-7EFF8F81246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74886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F6D7F-E3B8-42F7-AE02-F19E1DD0B4E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731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94" y="274643"/>
            <a:ext cx="2228851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9" y="274643"/>
            <a:ext cx="6534151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613C441-1244-43C3-9E2B-801763563A6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84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BB797D-DFF0-4B93-8E6B-3031B727A58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3408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642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FCE865-1842-4CE0-9B0C-FE557606B7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450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F738B52-82B1-4DE7-8A29-32316B342D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718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11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B1696B7-ABB6-4873-B616-8C30C44646B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774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2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2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B3CC75C-7744-4711-947C-BF2FB06E1E3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697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AB51513-177E-4B97-B715-D52195A2386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038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27E22B-4B3F-4D62-821B-BF900BC7C9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34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3DD29FA-938A-416E-BCA5-FD1EB970E76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688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7" y="273057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95FE0DB-8295-4E93-BC4C-742386E45FA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26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1FEA6B-352E-4C08-B67B-B0CD0F2B2EE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451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663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8379F-8764-49B9-9AE2-68C7441BAE1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81751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B6B5C90-1B13-45B3-A129-0E988EFA375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746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84" y="274643"/>
            <a:ext cx="2228851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9" y="274643"/>
            <a:ext cx="6534151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752141F-F935-49BD-9621-6D875B660EA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16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8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B1E64F1-B6B3-484B-B990-D766E5E324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710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ECD58D0-72A8-4415-B5F7-C3B469F774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988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0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7005E6B-6506-43BE-A78E-BB77D5B917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704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2" y="1600214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2" y="1600214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7FF49A5-1BDE-43F8-ADA6-F813C555844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647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D73C32-B183-45C3-95F1-0475A6E5C67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128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CA0E83C-5CB3-4346-A456-955C98B1D48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287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6E3229-653B-45EB-B40F-D98D6E3457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724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7" y="273057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3DA813-2B4B-4476-A6D7-F7C52C1E23B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685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E584A-BC0C-4446-BC9C-F1496CAF39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94555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4AFCC3-42B9-4FC9-873E-04EA97796AE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662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DE2642-4E72-4D32-865A-EE3B513ED1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436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84" y="274648"/>
            <a:ext cx="2228851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9" y="274648"/>
            <a:ext cx="6534151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D6BDDAC-8E9C-4EEA-A31C-D34B6788A21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959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8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A3AAAF-4166-4364-8A68-9D855E3A0E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689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9F85C00-9485-47F3-8662-DA6CDCA799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513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0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21FD384-F6B5-4C8A-A200-293D70C583D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960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2" y="1600214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2" y="1600214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852E674-73FA-45FF-869D-840E9E86BAA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055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9FF28C6-730F-44A7-A08C-A43AF6D99A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516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598EDA0-8CC7-4B55-A7DB-93A9C91E6AB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625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32C07C-8564-457D-8378-FDB397BC99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238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13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1F0D05-3357-43F1-8D58-5603E94F8D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89267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7" y="273057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EDE39E7-0455-4A29-9D08-429E001B5C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627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F458782-6C87-4149-8DB0-34B52C0EC3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665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CEEA8A4-E2A0-4710-871D-4E513D00A5D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335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84" y="274648"/>
            <a:ext cx="2228851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9" y="274648"/>
            <a:ext cx="6534151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A3F6AF8-126A-438B-9445-808A7AC1067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463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7932-880A-4935-AEE0-C01F31A82AC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244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5FA83-B900-4F1A-A430-6A2F0BE624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8250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F8D375-831A-408E-B2F1-FD98915D319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7538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DAB60-651E-4595-A5DB-5FEFFE8E70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1144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7" y="273054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D92B8A-9DAF-44CA-8CA5-2B8B4DA0205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830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39464C7-1CEB-4B0A-8A0E-C6FD60F448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268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2C9DA6-5E59-4D54-A07D-CD6291C2D38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7938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315C8-BC92-46D3-A5AB-6D59BEE9CCC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9630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1BBAE5-B4D0-49BA-8C26-1532E15526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4460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7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C093BC-ABAA-44EB-B4EF-4645F27EDFA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767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DA415F6-154B-4023-96A3-AED8F559E1F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435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2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3E48A75-07AC-4CA8-8CEE-470EBFF5161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553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E010D26-B406-4689-BEF3-C391FBD35FD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561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C21A0B-BA51-407C-9B48-E2796569B9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702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3DB5D43-C6CF-494F-9F01-74502308B8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302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7C9D654-6FAD-4D9C-AE1D-D37108AE38E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756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20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C359DDB-E01C-4375-BA48-EEB05D2CEF7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736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BA37204-39E1-40FE-A2A5-3662B60E909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833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EFA994-7BD9-4972-8EFF-D6FB5D611AC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919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A05BD80-40FF-4763-8CBF-2EEA9897288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706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3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3" y="274643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F80537-CE2F-4D2C-BE58-48F59CFC1DF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987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709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D7FB312-0F92-49CC-9892-9A293C6B675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5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451965C-6DFB-40AC-96B3-07FBFEF63EF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910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18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974F96A-3355-477D-A91B-05E7BA22D89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677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0F0720E-B59B-488E-AFF9-4DBEB94F4BC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449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8545B1C-B626-4FB0-9C02-4B621DFF663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660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18D6B5A-1B14-4CC1-BDBD-6CCC61DB5B8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462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2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2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EFF28DA-4250-46E0-A4A1-DAEB754C7C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331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C091F9-E938-4110-9B60-1595A7872E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840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8634CC-9F33-41E7-9F96-F49F3154909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738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450F236-285A-4498-84D0-A726078EF9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151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2A7503-B4CE-4A4E-A55C-CFAEAF52D6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04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3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3" y="274643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42169CD-B67B-43F3-A3F1-1336FDAB852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827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65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CB50D08-DE02-4A39-8763-842FEEC3F40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995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9BA77DA-604E-4D7E-B353-03133E64DC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6950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13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D3A910-9039-4C7C-8AE7-ED047EF6ADC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036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0" y="1600206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3F88BA1-73DF-4AAB-BA1A-3F18BCB7285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162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7D14F44-F0A5-4F4F-BC23-CA2755585B7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008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A3FDC9C-A634-4B18-B733-3CD87C57CA3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69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2447A85-32CF-4FF0-AF4D-55C2C7CFC6B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080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69BE402-1546-4043-A69D-21BD791CBBB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132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E174C1-10DA-4831-9F8E-2753415716D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766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715A37F-28DC-4EA7-B07F-B9C202F74DB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886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33B603-A773-4910-819E-56BDA406290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181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5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3" y="274645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F5AA6A-E344-4C80-A329-02DECE26164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752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65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00ACAB5-047E-4C42-BBB4-80273467FD9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744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679DE9A-59E2-480E-8262-9BBB2046CC9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424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13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06E179F-4FBF-42AB-AA21-AE9E40C6F3D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051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0" y="1600206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ECFB88-FD88-4B90-B8A6-DDDF2B2C9DD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175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6789506-0FC7-40C1-B7F2-B27D8BA17F9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41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12675-0A3A-4655-BE03-AA56CFF67D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385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783D5FF-EA8A-47C4-B47A-86704C2942B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924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0FCCD3D-4C86-4DEB-8E43-58D53D4F002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964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28182B1-DA3B-403D-97CC-76B661F7F3F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912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230F50B-45DA-47D1-94A4-4FD4E7C24DE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742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D7BBA95-FA45-4A0C-B540-EC214DE2BAF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198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5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3" y="274645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8DF6FBB-4967-4378-A362-C0B4E3C9DD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025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7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B6EECFD-751E-45A9-8980-8A76DEDD0EF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657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AED20B8-26F5-42BB-91CA-21B116FA366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42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04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C4D459-E07B-4384-B1A9-F2B6D263AFC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062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7B060C8-430B-4DEA-811A-73E3F6D5AB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748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F4D84F-402A-4BD8-A32E-88EC150329A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1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182FF6D-9D2B-4D63-9921-4C1755AA89B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699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4FCFE7C-411E-4A51-AC16-2E146B8715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306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D3D7794-D011-4535-B8DD-349A20B0F7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091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4EF05F2-4789-433A-96A2-F9A11694A1C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017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F018AD3-6C77-443A-B713-A351E21A508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478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3C6F5B-0BDC-4444-AA8B-F2E1EF57F2E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532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3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3" y="274643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0E84831-C34B-40A0-A5FE-566D4786214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8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7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DAF2A38-97F0-4D0E-B095-EE5AA036C47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981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F2EDA1C-D7CF-40A1-9B68-DB990C315A2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592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7" y="273057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9A9B750-B85B-433D-B207-D56E7883D63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728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04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6B8BF4A-23BD-4F66-9EFF-90EE2A183F6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30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C875FD6-F863-4A8A-ABA0-ED227172227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608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7581E01-8C26-4758-A2D4-CB4940C19A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46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7033295-BEB7-4EB5-9706-9BA254E2D2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871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19DFDC2-CECC-4355-AE82-2B6C3964DB7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102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759E5A-DAC7-4CBE-84BA-C406BC5E8DC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94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3FD05A2-1854-4DD7-B3C7-29E43EC3C81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149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32CF70-E43D-4358-862E-991FC0251CD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73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3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3" y="274643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F952B0D-1008-4E74-9DD9-5271398CEA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139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7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CC4C95-A9A0-49B1-9CF9-4CA5751F11D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251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7B7AEF1-D5AF-44C6-A685-50CA4D48A70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607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DBCE0AA-C218-4F6A-B531-DCB1168C571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242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04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3BA04C9-C94B-4F70-8EAB-CC447986B8C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833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0" y="1600205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06B7F01-142C-4792-B1A1-E1FDE9F1FD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31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17BE72F-3E1A-40A7-94E9-7D6E3212EEA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646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ED67581-EBAA-4519-BAC8-A77A6A6CFF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864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DD023F-6D5C-4E82-B7D0-A7727401C3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06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730FBF3-4F38-4719-9825-C0B381E9507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024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1AD9FC-42E9-487A-9823-805890382AF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987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E4EB9A5-50DD-497F-9509-79DBDC7DCE7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555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3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3" y="274643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66667C1-3A35-4B30-8BDB-EA27234854F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042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vmlDrawing" Target="../drawings/vmlDrawing9.v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2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tags" Target="../tags/tag1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vmlDrawing" Target="../drawings/vmlDrawing10.v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3.xml"/><Relationship Id="rId16" Type="http://schemas.openxmlformats.org/officeDocument/2006/relationships/oleObject" Target="../embeddings/oleObject10.bin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tags" Target="../tags/tag20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tags" Target="../tags/tag1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4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tags" Target="../tags/tag22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tags" Target="../tags/tag2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6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7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8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tags" Target="../tags/tag12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ags" Target="../tags/tag1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79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tags" Target="../tags/tag1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90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tags" Target="../tags/tag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6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F6CEA2D-5C8F-45EB-9049-7B91E7AAE86D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659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6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20014810"/>
              </p:ext>
            </p:extLst>
          </p:nvPr>
        </p:nvGraphicFramePr>
        <p:xfrm>
          <a:off x="1510" y="1590"/>
          <a:ext cx="146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52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10" y="1590"/>
                        <a:ext cx="146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" y="1"/>
            <a:ext cx="14653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047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  <p:sldLayoutId id="2147484039" r:id="rId7"/>
    <p:sldLayoutId id="2147484040" r:id="rId8"/>
    <p:sldLayoutId id="2147484041" r:id="rId9"/>
    <p:sldLayoutId id="2147484042" r:id="rId10"/>
    <p:sldLayoutId id="2147484043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4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D12BF-578F-4ABF-AE4B-EA194C48F71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42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4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32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56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201858E-B953-4E80-BF14-F65A38E1D7BE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56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56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55373822"/>
              </p:ext>
            </p:extLst>
          </p:nvPr>
        </p:nvGraphicFramePr>
        <p:xfrm>
          <a:off x="1500" y="1590"/>
          <a:ext cx="146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4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00" y="1590"/>
                        <a:ext cx="146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" y="1"/>
            <a:ext cx="14653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37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1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51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75D60B-56B8-490B-B4EB-130D0E7508D4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51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51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72457583"/>
              </p:ext>
            </p:extLst>
          </p:nvPr>
        </p:nvGraphicFramePr>
        <p:xfrm>
          <a:off x="1500" y="1590"/>
          <a:ext cx="146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5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00" y="1590"/>
                        <a:ext cx="146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" y="1"/>
            <a:ext cx="14653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893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6" r:id="rId6"/>
    <p:sldLayoutId id="2147484267" r:id="rId7"/>
    <p:sldLayoutId id="2147484268" r:id="rId8"/>
    <p:sldLayoutId id="2147484269" r:id="rId9"/>
    <p:sldLayoutId id="2147484270" r:id="rId10"/>
    <p:sldLayoutId id="2147484271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1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51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25C7ADE-10D6-4002-A7D5-FA96AF434E32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51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51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13280596"/>
              </p:ext>
            </p:extLst>
          </p:nvPr>
        </p:nvGraphicFramePr>
        <p:xfrm>
          <a:off x="1500" y="1590"/>
          <a:ext cx="146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8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00" y="1590"/>
                        <a:ext cx="146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" y="1"/>
            <a:ext cx="14653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55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7" r:id="rId5"/>
    <p:sldLayoutId id="2147484278" r:id="rId6"/>
    <p:sldLayoutId id="2147484279" r:id="rId7"/>
    <p:sldLayoutId id="2147484280" r:id="rId8"/>
    <p:sldLayoutId id="2147484281" r:id="rId9"/>
    <p:sldLayoutId id="2147484282" r:id="rId10"/>
    <p:sldLayoutId id="2147484283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58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B8ACA4-C5C3-471E-A421-DAA9647C35F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8.02.20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58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58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611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6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CBD1C83-AB75-43E5-9037-FFFB0DD6E879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6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6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05393144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3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5115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5" r:id="rId1"/>
    <p:sldLayoutId id="2147484106" r:id="rId2"/>
    <p:sldLayoutId id="2147484107" r:id="rId3"/>
    <p:sldLayoutId id="2147484108" r:id="rId4"/>
    <p:sldLayoutId id="2147484109" r:id="rId5"/>
    <p:sldLayoutId id="2147484110" r:id="rId6"/>
    <p:sldLayoutId id="2147484111" r:id="rId7"/>
    <p:sldLayoutId id="2147484112" r:id="rId8"/>
    <p:sldLayoutId id="2147484113" r:id="rId9"/>
    <p:sldLayoutId id="2147484114" r:id="rId10"/>
    <p:sldLayoutId id="214748411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6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311133-A49D-4819-9D59-6F27830959E3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63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6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67973586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5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443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5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0DBBC74-A676-48E2-9A20-1CB2E3DF21E8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58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5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14379694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6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310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  <p:sldLayoutId id="2147484144" r:id="rId4"/>
    <p:sldLayoutId id="2147484145" r:id="rId5"/>
    <p:sldLayoutId id="2147484146" r:id="rId6"/>
    <p:sldLayoutId id="2147484147" r:id="rId7"/>
    <p:sldLayoutId id="2147484148" r:id="rId8"/>
    <p:sldLayoutId id="2147484149" r:id="rId9"/>
    <p:sldLayoutId id="2147484150" r:id="rId10"/>
    <p:sldLayoutId id="2147484151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5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892E29-3E25-4DD5-B4BC-8C2C95C801EF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58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5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76381670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0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357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3" r:id="rId1"/>
    <p:sldLayoutId id="2147484154" r:id="rId2"/>
    <p:sldLayoutId id="2147484155" r:id="rId3"/>
    <p:sldLayoutId id="2147484156" r:id="rId4"/>
    <p:sldLayoutId id="2147484157" r:id="rId5"/>
    <p:sldLayoutId id="2147484158" r:id="rId6"/>
    <p:sldLayoutId id="2147484159" r:id="rId7"/>
    <p:sldLayoutId id="2147484160" r:id="rId8"/>
    <p:sldLayoutId id="2147484161" r:id="rId9"/>
    <p:sldLayoutId id="2147484162" r:id="rId10"/>
    <p:sldLayoutId id="2147484163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49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CED8D41-CFF0-43DB-B726-2B99A29BCF62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49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49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76071834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3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412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66" r:id="rId2"/>
    <p:sldLayoutId id="2147484167" r:id="rId3"/>
    <p:sldLayoutId id="2147484168" r:id="rId4"/>
    <p:sldLayoutId id="2147484169" r:id="rId5"/>
    <p:sldLayoutId id="2147484170" r:id="rId6"/>
    <p:sldLayoutId id="2147484171" r:id="rId7"/>
    <p:sldLayoutId id="2147484172" r:id="rId8"/>
    <p:sldLayoutId id="2147484173" r:id="rId9"/>
    <p:sldLayoutId id="2147484174" r:id="rId10"/>
    <p:sldLayoutId id="214748417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49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F5753F-6BC1-46C9-8229-E61C24BC10C8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49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49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96434136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0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4907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49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70401A5-C47A-4659-941A-3E2F19D11C8E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8.02.2026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49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49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0946115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2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6496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9" r:id="rId1"/>
    <p:sldLayoutId id="2147484190" r:id="rId2"/>
    <p:sldLayoutId id="2147484191" r:id="rId3"/>
    <p:sldLayoutId id="2147484192" r:id="rId4"/>
    <p:sldLayoutId id="2147484193" r:id="rId5"/>
    <p:sldLayoutId id="2147484194" r:id="rId6"/>
    <p:sldLayoutId id="2147484195" r:id="rId7"/>
    <p:sldLayoutId id="2147484196" r:id="rId8"/>
    <p:sldLayoutId id="2147484197" r:id="rId9"/>
    <p:sldLayoutId id="2147484198" r:id="rId10"/>
    <p:sldLayoutId id="2147484199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2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3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3.png"/><Relationship Id="rId4" Type="http://schemas.openxmlformats.org/officeDocument/2006/relationships/chart" Target="../charts/char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3.png"/><Relationship Id="rId4" Type="http://schemas.openxmlformats.org/officeDocument/2006/relationships/chart" Target="../charts/char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68.xml"/><Relationship Id="rId9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12" Type="http://schemas.openxmlformats.org/officeDocument/2006/relationships/image" Target="../media/image17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7.png"/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12" Type="http://schemas.openxmlformats.org/officeDocument/2006/relationships/hyperlink" Target="http://www.gosuslugi.ru/" TargetMode="Externa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01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01.xml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.xml"/><Relationship Id="rId7" Type="http://schemas.openxmlformats.org/officeDocument/2006/relationships/oleObject" Target="../embeddings/oleObject16.bin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01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12" Type="http://schemas.openxmlformats.org/officeDocument/2006/relationships/chart" Target="../charts/chart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12" Type="http://schemas.openxmlformats.org/officeDocument/2006/relationships/chart" Target="../charts/char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12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900482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323532" y="4437112"/>
            <a:ext cx="8145839" cy="864096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исполняющий обязанности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я управления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.А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ибков</a:t>
            </a: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Рисунок 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9144000" cy="1008112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802427" y="10820"/>
            <a:ext cx="2886134" cy="4685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Федеральная </a:t>
            </a: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лужба </a:t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экологическому, технологическому </a:t>
            </a: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томному надзору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2427" y="526157"/>
            <a:ext cx="3750230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ОСТЕХНАДЗОР</a:t>
            </a:r>
            <a:r>
              <a:rPr lang="en-US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ИБИРСКОЕ УПРАВЛЕНИЕ)</a:t>
            </a:r>
            <a:endParaRPr lang="ru-RU" sz="1000" b="1" dirty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1447960" y="5681860"/>
            <a:ext cx="66913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0259" y="5734590"/>
            <a:ext cx="9133741" cy="30777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1400" b="1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г. </a:t>
            </a:r>
            <a:endParaRPr lang="ru-RU" altLang="ru-RU" sz="1400" b="1" dirty="0">
              <a:ln w="0"/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19" descr="fsetan_emblema200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63" y="61996"/>
            <a:ext cx="668262" cy="80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10259" y="1844824"/>
            <a:ext cx="91440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2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2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2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2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2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2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</p:spTree>
    <p:extLst>
      <p:ext uri="{BB962C8B-B14F-4D97-AF65-F5344CB8AC3E}">
        <p14:creationId xmlns:p14="http://schemas.microsoft.com/office/powerpoint/2010/main" val="2763452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 rot="10800000">
            <a:off x="-1" y="0"/>
            <a:ext cx="9144000" cy="1196752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34000">
                <a:schemeClr val="accent1">
                  <a:tint val="44500"/>
                  <a:satMod val="160000"/>
                </a:schemeClr>
              </a:gs>
              <a:gs pos="95000">
                <a:schemeClr val="bg1"/>
              </a:gs>
              <a:gs pos="64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220271" y="1268761"/>
            <a:ext cx="8784976" cy="5000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>
              <a:spcBef>
                <a:spcPts val="0"/>
              </a:spcBef>
              <a:defRPr/>
            </a:pP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добычи и травматизма со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ертельным исходом </a:t>
            </a:r>
            <a:endParaRPr lang="ru-RU" sz="18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>
              <a:spcBef>
                <a:spcPts val="0"/>
              </a:spcBef>
              <a:defRPr/>
            </a:pP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гольной промышленности</a:t>
            </a:r>
          </a:p>
        </p:txBody>
      </p:sp>
      <p:graphicFrame>
        <p:nvGraphicFramePr>
          <p:cNvPr id="11" name="Диаграмм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479699"/>
              </p:ext>
            </p:extLst>
          </p:nvPr>
        </p:nvGraphicFramePr>
        <p:xfrm>
          <a:off x="105563" y="1007825"/>
          <a:ext cx="8899687" cy="5768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" name="Прямая соединительная линия 3"/>
          <p:cNvCxnSpPr/>
          <p:nvPr/>
        </p:nvCxnSpPr>
        <p:spPr>
          <a:xfrm>
            <a:off x="-2" y="1124744"/>
            <a:ext cx="83694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349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26" y="10215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61" y="13558"/>
            <a:ext cx="2974975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1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074" y="504590"/>
            <a:ext cx="38592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923933" y="13557"/>
            <a:ext cx="5081319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i="1" dirty="0">
                <a:solidFill>
                  <a:prstClr val="white"/>
                </a:solidFill>
              </a:rPr>
              <a:t>С 2014 года на предприятиях угольной отрасли, поднадзорных Сибирскому управлению, произошло 33 аварии, в том числе 27 в шахтах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80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9043"/>
            <a:ext cx="9144000" cy="892096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2699827" y="61997"/>
            <a:ext cx="63109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17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инятые в 2025 году меры по итогу расследования аварий и несчастных случаев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69305" y="27952"/>
            <a:ext cx="3126645" cy="4685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Федеральная служба </a:t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 экологическому, технологическому </a:t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 атомному надзору</a:t>
            </a:r>
            <a:endParaRPr lang="ru-RU" sz="1015" b="1" dirty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9349" y="526157"/>
            <a:ext cx="4062749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ОСТЕХНАДЗОР</a:t>
            </a:r>
            <a:r>
              <a:rPr lang="en-US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ИБИРСКОЕ УПРАВЛЕНИЕ)</a:t>
            </a:r>
            <a:endParaRPr lang="ru-RU" sz="1000" b="1" dirty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9" descr="fsetan_emblema200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69" y="61997"/>
            <a:ext cx="668263" cy="80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98412" y="6490484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9592135"/>
              </p:ext>
            </p:extLst>
          </p:nvPr>
        </p:nvGraphicFramePr>
        <p:xfrm>
          <a:off x="251521" y="1052737"/>
          <a:ext cx="8568952" cy="4023570"/>
        </p:xfrm>
        <a:graphic>
          <a:graphicData uri="http://schemas.openxmlformats.org/drawingml/2006/table">
            <a:tbl>
              <a:tblPr/>
              <a:tblGrid>
                <a:gridCol w="1082328"/>
                <a:gridCol w="858803"/>
                <a:gridCol w="802923"/>
                <a:gridCol w="976449"/>
                <a:gridCol w="1120562"/>
                <a:gridCol w="767629"/>
                <a:gridCol w="1339100"/>
                <a:gridCol w="810579"/>
                <a:gridCol w="810579"/>
              </a:tblGrid>
              <a:tr h="406351">
                <a:tc gridSpan="9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нятые меры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653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ид происшествия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правлено на согласование КНМ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огласовано КНМ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ыявлено нарушений по итогу КНМ и расследований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ъявлено предостережений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правлено информационных писем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ведено совещаний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правлено писем в МВД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32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варии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 </a:t>
                      </a:r>
                    </a:p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33 организаци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М)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26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мертельные НС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7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 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з них 7 АПД)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 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4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рганизаций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и ПС)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32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рупповые НС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 организации)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ПК)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26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 по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правлению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5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  <p:sp>
        <p:nvSpPr>
          <p:cNvPr id="11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287530" y="5157192"/>
            <a:ext cx="8568952" cy="1556792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е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учаи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варий и смертельного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авматизма расследуются в установленном порядке комиссиями под председательством заместителей руководителя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я.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одятся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ие совещания с руководителями организаций, где допущено учетное событие.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яются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ые письма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дрес собственников организаций. </a:t>
            </a: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5033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9043"/>
            <a:ext cx="9144000" cy="892096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3851920" y="17922"/>
            <a:ext cx="49332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17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истемные причины </a:t>
            </a:r>
          </a:p>
          <a:p>
            <a:pPr algn="ctr" defTabSz="685817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варийности и травматизма 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69305" y="27952"/>
            <a:ext cx="3126645" cy="4685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Федеральная служба </a:t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 экологическому, технологическому </a:t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 атомному надзору</a:t>
            </a:r>
            <a:endParaRPr lang="ru-RU" sz="1015" b="1" dirty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9349" y="526157"/>
            <a:ext cx="4062749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ОСТЕХНАДЗОР</a:t>
            </a:r>
            <a:r>
              <a:rPr lang="en-US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ИБИРСКОЕ УПРАВЛЕНИЕ)</a:t>
            </a:r>
            <a:endParaRPr lang="ru-RU" sz="1000" b="1" dirty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9" descr="fsetan_emblema200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69" y="61997"/>
            <a:ext cx="668263" cy="80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98412" y="6490484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1560" y="980731"/>
            <a:ext cx="8064896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</a:rPr>
              <a:t>Основные </a:t>
            </a:r>
            <a:r>
              <a:rPr lang="ru-RU" sz="2000" b="1" dirty="0">
                <a:solidFill>
                  <a:prstClr val="black"/>
                </a:solidFill>
              </a:rPr>
              <a:t>системные причины </a:t>
            </a:r>
            <a:r>
              <a:rPr lang="ru-RU" sz="2000" b="1" dirty="0" smtClean="0">
                <a:solidFill>
                  <a:prstClr val="black"/>
                </a:solidFill>
              </a:rPr>
              <a:t>аварийности и травматизма </a:t>
            </a:r>
            <a:r>
              <a:rPr lang="ru-RU" sz="2000" b="1" dirty="0">
                <a:solidFill>
                  <a:prstClr val="black"/>
                </a:solidFill>
              </a:rPr>
              <a:t>на </a:t>
            </a:r>
            <a:r>
              <a:rPr lang="ru-RU" sz="2000" b="1" dirty="0" smtClean="0">
                <a:solidFill>
                  <a:prstClr val="black"/>
                </a:solidFill>
              </a:rPr>
              <a:t>поднадзорных объектах</a:t>
            </a:r>
          </a:p>
          <a:p>
            <a:pPr algn="ctr"/>
            <a:endParaRPr lang="ru-RU" sz="2000" dirty="0">
              <a:solidFill>
                <a:prstClr val="black"/>
              </a:solidFill>
            </a:endParaRPr>
          </a:p>
          <a:p>
            <a:pPr marL="285750" indent="-285750" algn="just">
              <a:buFontTx/>
              <a:buChar char="-"/>
            </a:pP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йствующие </a:t>
            </a: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предприятиях системы управления промышленной безопасностью носят формальный характер и не способны в полной мере прогнозировать и предупреждать возникновение критических рисков приводящих к авариям и несчастным </a:t>
            </a: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учаям.</a:t>
            </a:r>
          </a:p>
          <a:p>
            <a:pPr marL="285750" indent="-285750" algn="just">
              <a:buFontTx/>
              <a:buChar char="-"/>
            </a:pPr>
            <a:endParaRPr lang="ru-RU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Tx/>
              <a:buChar char="-"/>
            </a:pP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е </a:t>
            </a: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 опасными методами, системный характер нарушений требований безопасности, допускаемых практически всеми - от рабочих до руководителей.</a:t>
            </a:r>
            <a:endParaRPr lang="ru-RU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Tx/>
              <a:buChar char="-"/>
            </a:pPr>
            <a:endParaRPr lang="ru-RU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Tx/>
              <a:buChar char="-"/>
            </a:pP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зкий </a:t>
            </a: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исполнения проектно-технической документации. Неправильно принятые технические решения неизбежно ведут к авариям и несчастным случаям</a:t>
            </a: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85750" indent="-285750" algn="just">
              <a:buFontTx/>
              <a:buChar char="-"/>
            </a:pPr>
            <a:endParaRPr lang="ru-RU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Tx/>
              <a:buChar char="-"/>
            </a:pP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чная </a:t>
            </a: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валификация персонала </a:t>
            </a: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иятий и подрядных организаций, </a:t>
            </a: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жде всего руководящего состава, не позволяет организовать безопасное производство </a:t>
            </a: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.</a:t>
            </a:r>
            <a:endParaRPr lang="ru-RU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9048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25561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284285" y="7938"/>
            <a:ext cx="281354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09014" y="6262145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cap="all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Наказание не является целью, цель – профилактика!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71286" y="4000518"/>
            <a:ext cx="5864715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Профилактические мероприятия (ст. 45 248-ФЗ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1) информирование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2) обобщение правоприменительной практик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3) меры стимулирования добросовестност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4) объявление предостережения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5) консультирование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6) </a:t>
            </a:r>
            <a:r>
              <a:rPr lang="ru-RU" sz="1600" b="1" dirty="0" err="1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самообследование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851545" y="6609307"/>
            <a:ext cx="796933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3606" y="6656970"/>
            <a:ext cx="7969339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55170" y="6442113"/>
            <a:ext cx="2133600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34614" y="3284984"/>
            <a:ext cx="87298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prstClr val="black"/>
                </a:solidFill>
                <a:latin typeface="Times New Roman"/>
                <a:ea typeface="Times New Roman"/>
                <a:cs typeface="Arial" charset="0"/>
              </a:rPr>
              <a:t>За </a:t>
            </a:r>
            <a:r>
              <a:rPr lang="ru-RU" dirty="0" smtClean="0">
                <a:solidFill>
                  <a:prstClr val="black"/>
                </a:solidFill>
                <a:latin typeface="Times New Roman"/>
                <a:ea typeface="Times New Roman"/>
                <a:cs typeface="Arial" charset="0"/>
              </a:rPr>
              <a:t>2025 </a:t>
            </a:r>
            <a:r>
              <a:rPr lang="ru-RU" dirty="0">
                <a:solidFill>
                  <a:prstClr val="black"/>
                </a:solidFill>
                <a:latin typeface="Times New Roman"/>
                <a:ea typeface="Times New Roman"/>
                <a:cs typeface="Arial" charset="0"/>
              </a:rPr>
              <a:t>год Управлением объявлено </a:t>
            </a:r>
            <a:r>
              <a:rPr lang="ru-RU" dirty="0" smtClean="0">
                <a:solidFill>
                  <a:prstClr val="black"/>
                </a:solidFill>
                <a:latin typeface="Times New Roman"/>
                <a:ea typeface="Times New Roman"/>
                <a:cs typeface="Arial" charset="0"/>
              </a:rPr>
              <a:t>2103 предостережения </a:t>
            </a:r>
            <a:r>
              <a:rPr lang="ru-RU" dirty="0">
                <a:solidFill>
                  <a:prstClr val="black"/>
                </a:solidFill>
                <a:latin typeface="Times New Roman"/>
                <a:ea typeface="Times New Roman"/>
                <a:cs typeface="Arial" charset="0"/>
              </a:rPr>
              <a:t>о недопустимости нарушения обязательных требований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.</a:t>
            </a: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5785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61" y="13558"/>
            <a:ext cx="2974975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26" y="10215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074" y="504590"/>
            <a:ext cx="38592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4087928" y="274427"/>
            <a:ext cx="45667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685817"/>
            <a:r>
              <a:rPr lang="ru-RU" alt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ОФИЛАКТИЧЕСКИЕ МЕРОПРИЯТИЯ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70649"/>
              </p:ext>
            </p:extLst>
          </p:nvPr>
        </p:nvGraphicFramePr>
        <p:xfrm>
          <a:off x="204201" y="1005003"/>
          <a:ext cx="8748868" cy="2160239"/>
        </p:xfrm>
        <a:graphic>
          <a:graphicData uri="http://schemas.openxmlformats.org/drawingml/2006/table">
            <a:tbl>
              <a:tblPr/>
              <a:tblGrid>
                <a:gridCol w="1018525"/>
                <a:gridCol w="360876"/>
                <a:gridCol w="360876"/>
                <a:gridCol w="391740"/>
                <a:gridCol w="379869"/>
                <a:gridCol w="391740"/>
                <a:gridCol w="379869"/>
                <a:gridCol w="351379"/>
                <a:gridCol w="363250"/>
                <a:gridCol w="360876"/>
                <a:gridCol w="334760"/>
                <a:gridCol w="360876"/>
                <a:gridCol w="332386"/>
                <a:gridCol w="322890"/>
                <a:gridCol w="370373"/>
                <a:gridCol w="379869"/>
                <a:gridCol w="360876"/>
                <a:gridCol w="370373"/>
                <a:gridCol w="370373"/>
                <a:gridCol w="427354"/>
                <a:gridCol w="379869"/>
                <a:gridCol w="379869"/>
              </a:tblGrid>
              <a:tr h="3752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ПБ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ЭЭ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С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ГТС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ТЭ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Лифт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сего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28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+;-)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+;-)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+;-)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+;-)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+;-)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+;-)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+;-)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3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нформирование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97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99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26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815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168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47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1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42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1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2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2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709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342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3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10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ъявление предостережений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6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64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49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7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02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5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5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94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0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9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14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нсультирование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96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02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94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3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3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8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46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46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8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37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57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93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е визиты</a:t>
                      </a:r>
                    </a:p>
                  </a:txBody>
                  <a:tcPr marL="6709" marR="6709" marT="67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5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51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78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49</a:t>
                      </a:r>
                    </a:p>
                  </a:txBody>
                  <a:tcPr marL="6709" marR="6709" marT="67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77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626952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38557" y="5877415"/>
            <a:ext cx="554023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14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851920" y="116632"/>
            <a:ext cx="51845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u="sng" cap="all" dirty="0" smtClean="0">
                <a:solidFill>
                  <a:prstClr val="white"/>
                </a:solidFill>
                <a:latin typeface="Times New Roman" pitchFamily="18" charset="0"/>
                <a:cs typeface="Arial" charset="0"/>
              </a:rPr>
              <a:t>ИНДИКАТОРЫ риска ВЫЯВЛЕННЫЕ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u="sng" cap="all" dirty="0" smtClean="0">
                <a:solidFill>
                  <a:srgbClr val="F79646">
                    <a:lumMod val="40000"/>
                    <a:lumOff val="60000"/>
                  </a:srgbClr>
                </a:solidFill>
                <a:latin typeface="Times New Roman" pitchFamily="18" charset="0"/>
                <a:cs typeface="Arial" charset="0"/>
              </a:rPr>
              <a:t>за 2025 год    и    за 2024 год </a:t>
            </a:r>
            <a:endParaRPr lang="ru-RU" sz="1400" b="1" u="sng" cap="all" dirty="0">
              <a:solidFill>
                <a:srgbClr val="F79646">
                  <a:lumMod val="40000"/>
                  <a:lumOff val="60000"/>
                </a:srgbClr>
              </a:solidFill>
              <a:latin typeface="Times New Roman" pitchFamily="18" charset="0"/>
              <a:cs typeface="Arial" charset="0"/>
            </a:endParaRPr>
          </a:p>
        </p:txBody>
      </p:sp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6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83" y="67151"/>
            <a:ext cx="3219450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7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90" y="525602"/>
            <a:ext cx="417036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407426"/>
              </p:ext>
            </p:extLst>
          </p:nvPr>
        </p:nvGraphicFramePr>
        <p:xfrm>
          <a:off x="323526" y="1124756"/>
          <a:ext cx="8568953" cy="5256572"/>
        </p:xfrm>
        <a:graphic>
          <a:graphicData uri="http://schemas.openxmlformats.org/drawingml/2006/table">
            <a:tbl>
              <a:tblPr/>
              <a:tblGrid>
                <a:gridCol w="2445459"/>
                <a:gridCol w="850595"/>
                <a:gridCol w="850595"/>
                <a:gridCol w="803340"/>
                <a:gridCol w="882097"/>
                <a:gridCol w="886037"/>
                <a:gridCol w="929352"/>
                <a:gridCol w="921478"/>
              </a:tblGrid>
              <a:tr h="21601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бъект РФ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д индикатора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выявленных индикаторов риска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обращений в органы прокуратуры для согласования КНМ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согласованных органами прокуратуры КНМ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284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7347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 Поступление информации о 3 (трех) и более инцидентах,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чение одного календарного года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ом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448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2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Нарушения ПБ в акт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асслед-ия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аварии, проверить подобные ОПО III и IV класса этого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р.л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3 </a:t>
                      </a:r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тсутствие лицензии ВХ при эксп-ии ОПО более 4-х месяцев с момента их регистрации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08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6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Нет ЗЭПБ на ТУ применяемое на ОПО III или IV класса с продлением срок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ксп-и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6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6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6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6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2560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7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Нет ЗЭПБ на ЗС эксплуатируемое на ОПО III или IV класса с продлением срока эксплуатации. Нет инф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о выводе из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ксп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ЗС после отриц. ЗЭПБ.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7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7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3616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8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Наличие положительных ЗЭПБ на ОПО III или IV класса выданных экспертом, выдавшим заведомо ложное ЗЭПБ на этом же ОПО (за два года)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8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-4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Снижение индекса готовности субъекта электроэнергетики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4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 Увеличение объема добычи более чем на 30% от установленной в ПРГР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ЭПБ1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- Трехкратный рост ЗЭПБ в сравнении с предыдущим годом 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ЭПБ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ЭПБ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480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ЭПБ4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- Нет ЗЭПБ в течение 2-х лет с момента получения лицензии, либо в течении одного года с последнего ЗЭПБ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ЭПБ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ом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ЭПБ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ЭПБ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448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-2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Отсутствие в реестре опасных технических устройств более 20 рабочих дней со дня ввода в эксплуатацию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-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5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 по Управлению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4408" marR="4408" marT="440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4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</a:t>
                      </a:r>
                    </a:p>
                  </a:txBody>
                  <a:tcPr marL="4408" marR="4408" marT="4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67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9144000" cy="892096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2699794" y="9000"/>
            <a:ext cx="6444208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17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оличество выявленных индикаторов риска и </a:t>
            </a:r>
          </a:p>
          <a:p>
            <a:pPr algn="r" defTabSz="685817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огласованных КНМ в области промышленной безопасности</a:t>
            </a:r>
          </a:p>
          <a:p>
            <a:pPr algn="r" defTabSz="685817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F79646">
                    <a:lumMod val="40000"/>
                    <a:lumOff val="6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 2025 год</a:t>
            </a:r>
            <a:endParaRPr lang="ru-RU" altLang="ru-RU" sz="1400" b="1" dirty="0">
              <a:solidFill>
                <a:srgbClr val="F79646">
                  <a:lumMod val="40000"/>
                  <a:lumOff val="60000"/>
                </a:srgb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69293" y="10820"/>
            <a:ext cx="3126645" cy="4685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Федеральная </a:t>
            </a: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лужба </a:t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экологическому, технологическому </a:t>
            </a: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томному надзору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69349" y="526157"/>
            <a:ext cx="4062749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ОСТЕХНАДЗОР</a:t>
            </a:r>
            <a:r>
              <a:rPr lang="en-US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ИБИРСКОЕ УПРАВЛЕНИЕ)</a:t>
            </a:r>
            <a:endParaRPr lang="ru-RU" sz="1000" b="1" dirty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3986123601"/>
              </p:ext>
            </p:extLst>
          </p:nvPr>
        </p:nvGraphicFramePr>
        <p:xfrm>
          <a:off x="179543" y="864713"/>
          <a:ext cx="8815441" cy="5804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3" name="Picture 19" descr="fsetan_emblema200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63" y="61996"/>
            <a:ext cx="668262" cy="80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236296" y="649301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503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9144000" cy="892096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2699794" y="9000"/>
            <a:ext cx="6444208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17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оличество выявленных индикаторов риска и </a:t>
            </a:r>
          </a:p>
          <a:p>
            <a:pPr algn="r" defTabSz="685817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огласованных КНМ по другим видам надзора</a:t>
            </a:r>
          </a:p>
          <a:p>
            <a:pPr algn="r" defTabSz="685817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F79646">
                    <a:lumMod val="40000"/>
                    <a:lumOff val="6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 2025 год</a:t>
            </a:r>
            <a:endParaRPr lang="ru-RU" altLang="ru-RU" sz="1400" b="1" dirty="0">
              <a:solidFill>
                <a:srgbClr val="F79646">
                  <a:lumMod val="40000"/>
                  <a:lumOff val="60000"/>
                </a:srgb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69293" y="10820"/>
            <a:ext cx="3126645" cy="4685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Федеральная </a:t>
            </a: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лужба </a:t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экологическому, технологическому </a:t>
            </a: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томному надзору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69349" y="526157"/>
            <a:ext cx="4062749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ОСТЕХНАДЗОР</a:t>
            </a:r>
            <a:r>
              <a:rPr lang="en-US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ИБИРСКОЕ УПРАВЛЕНИЕ)</a:t>
            </a:r>
            <a:endParaRPr lang="ru-RU" sz="1000" b="1" dirty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636416144"/>
              </p:ext>
            </p:extLst>
          </p:nvPr>
        </p:nvGraphicFramePr>
        <p:xfrm>
          <a:off x="251520" y="1268760"/>
          <a:ext cx="8640960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3" name="Picture 19" descr="fsetan_emblema200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63" y="61996"/>
            <a:ext cx="668262" cy="80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98412" y="6490552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741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4987121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38557" y="5877415"/>
            <a:ext cx="554023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17</a:t>
            </a:fld>
            <a:endParaRPr lang="ru-RU" dirty="0">
              <a:solidFill>
                <a:prstClr val="white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2100905"/>
              </p:ext>
            </p:extLst>
          </p:nvPr>
        </p:nvGraphicFramePr>
        <p:xfrm>
          <a:off x="251528" y="1136134"/>
          <a:ext cx="8712969" cy="5554318"/>
        </p:xfrm>
        <a:graphic>
          <a:graphicData uri="http://schemas.openxmlformats.org/drawingml/2006/table">
            <a:tbl>
              <a:tblPr firstRow="1" firstCol="1" bandRow="1"/>
              <a:tblGrid>
                <a:gridCol w="3456383"/>
                <a:gridCol w="1656184"/>
                <a:gridCol w="3600402"/>
              </a:tblGrid>
              <a:tr h="564674">
                <a:tc>
                  <a:txBody>
                    <a:bodyPr/>
                    <a:lstStyle/>
                    <a:p>
                      <a:pPr algn="ctr">
                        <a:spcAft>
                          <a:spcPts val="40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озиция органов прокуратуры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9736" marR="497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% отказов от общего</a:t>
                      </a:r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количества поданных заявлений 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3251" marR="6325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Комментарии</a:t>
                      </a:r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Сибирского управления</a:t>
                      </a:r>
                      <a:endParaRPr lang="ru-RU" sz="1300" dirty="0" smtClean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  <a:p>
                      <a:pPr algn="ctr" fontAlgn="base"/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3251" marR="6325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2186278">
                <a:tc>
                  <a:txBody>
                    <a:bodyPr/>
                    <a:lstStyle/>
                    <a:p>
                      <a:pPr>
                        <a:spcAft>
                          <a:spcPts val="40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тсутствие документов, прилагаемых к заявлению о согласовании проведения внепланового контрольного (надзорного) мероприятия.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9736" marR="497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,3% </a:t>
                      </a:r>
                    </a:p>
                    <a:p>
                      <a:pPr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(18 отказов)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3251" marR="6325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 Заявления</a:t>
                      </a:r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о проведении КНМ приняты органами прокуратуры  в рассмотрение либо в день начала проведения КНМ, либо позднее (</a:t>
                      </a:r>
                      <a:r>
                        <a:rPr lang="en-US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</a:t>
                      </a:r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отказов). </a:t>
                      </a:r>
                    </a:p>
                    <a:p>
                      <a:pPr fontAlgn="base"/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 Орган прокуратуры требует приложения предостережения в материал, при этом ссылка на предостережение указана в мотивированном представлении.</a:t>
                      </a:r>
                    </a:p>
                    <a:p>
                      <a:pPr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 Не приложены документы подтверждающие противоправные действия после выданного предостережения.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3251" marR="6325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2128">
                <a:tc>
                  <a:txBody>
                    <a:bodyPr/>
                    <a:lstStyle/>
                    <a:p>
                      <a:pPr>
                        <a:spcAft>
                          <a:spcPts val="40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Несоблюдение требований, установленных настоящим Федеральным законом, к оформлению решения контрольного (надзорного) органа о проведении внепланового контрольного (надзорного) мероприятия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9736" marR="497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8,5 % </a:t>
                      </a:r>
                    </a:p>
                    <a:p>
                      <a:pPr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(10 отказов)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3251" marR="6325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 Несоответствие сведений о НПА «подтягиваемых» из Реестра обязательных</a:t>
                      </a:r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требований с НПА приказа Ростехнадзора № 81 (</a:t>
                      </a:r>
                      <a:r>
                        <a:rPr lang="en-US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</a:t>
                      </a:r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отказов).</a:t>
                      </a:r>
                    </a:p>
                    <a:p>
                      <a:pPr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 Проблема интеграции сведений из ЕРВК в ЕРКНМ об объекте контроля.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3251" marR="6325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8152">
                <a:tc>
                  <a:txBody>
                    <a:bodyPr/>
                    <a:lstStyle/>
                    <a:p>
                      <a:pPr>
                        <a:spcAft>
                          <a:spcPts val="40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роведение внепланового контрольного (надзорного) мероприятия, противоречащего федеральным законам, нормативным правовым актам Президента Российской Федерации, нормативным правовым актам Правительства Российской Федерации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9736" marR="497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,2 %</a:t>
                      </a:r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fontAlgn="base"/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(26 отказов)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3251" marR="6325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 Проблема интеграции сведений из ЕРВК в ЕРКНМ об объекте контроля (</a:t>
                      </a:r>
                      <a:r>
                        <a:rPr lang="en-US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отказа).</a:t>
                      </a:r>
                    </a:p>
                    <a:p>
                      <a:pPr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 Заявления о проведении КНМ приняты органами прокуратуры  в рассмотрение либо в день начала проведения КНМ, либо позднее (3 отказа). </a:t>
                      </a:r>
                    </a:p>
                    <a:p>
                      <a:pPr fontAlgn="base"/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 Предлагается</a:t>
                      </a:r>
                      <a:r>
                        <a:rPr lang="ru-RU" sz="130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заменить КНМ на проф. мероприятие (5 отказов).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3251" marR="6325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851920" y="116632"/>
            <a:ext cx="518457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u="sng" cap="all" dirty="0" smtClean="0">
                <a:solidFill>
                  <a:prstClr val="white"/>
                </a:solidFill>
                <a:latin typeface="Times New Roman" pitchFamily="18" charset="0"/>
                <a:cs typeface="Arial" charset="0"/>
              </a:rPr>
              <a:t>Причины отказа в согласовании КНМ по индикаторам риска органами прокуратуры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u="sng" cap="all" dirty="0" smtClean="0">
                <a:solidFill>
                  <a:prstClr val="white"/>
                </a:solidFill>
                <a:latin typeface="Times New Roman" pitchFamily="18" charset="0"/>
                <a:cs typeface="Arial" charset="0"/>
              </a:rPr>
              <a:t>за  </a:t>
            </a:r>
            <a:r>
              <a:rPr lang="ru-RU" sz="1400" b="1" u="sng" cap="all" dirty="0" smtClean="0">
                <a:solidFill>
                  <a:srgbClr val="F79646">
                    <a:lumMod val="40000"/>
                    <a:lumOff val="60000"/>
                  </a:srgbClr>
                </a:solidFill>
                <a:latin typeface="Times New Roman" pitchFamily="18" charset="0"/>
                <a:cs typeface="Arial" charset="0"/>
              </a:rPr>
              <a:t>2025 год</a:t>
            </a:r>
            <a:endParaRPr lang="ru-RU" sz="1400" b="1" u="sng" cap="all" dirty="0">
              <a:solidFill>
                <a:srgbClr val="F79646">
                  <a:lumMod val="40000"/>
                  <a:lumOff val="60000"/>
                </a:srgbClr>
              </a:solidFill>
              <a:latin typeface="Times New Roman" pitchFamily="18" charset="0"/>
              <a:cs typeface="Arial" charset="0"/>
            </a:endParaRPr>
          </a:p>
        </p:txBody>
      </p:sp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6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83" y="67151"/>
            <a:ext cx="3219450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7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90" y="525602"/>
            <a:ext cx="417036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475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597288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38557" y="5877415"/>
            <a:ext cx="554023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18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851920" y="116632"/>
            <a:ext cx="51845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u="sng" cap="all" dirty="0" smtClean="0">
                <a:solidFill>
                  <a:prstClr val="white"/>
                </a:solidFill>
                <a:latin typeface="Times New Roman" pitchFamily="18" charset="0"/>
                <a:cs typeface="Arial" charset="0"/>
              </a:rPr>
              <a:t>Итоги проведенных </a:t>
            </a:r>
            <a:r>
              <a:rPr lang="ru-RU" sz="1400" b="1" u="sng" cap="all" dirty="0" err="1" smtClean="0">
                <a:solidFill>
                  <a:prstClr val="white"/>
                </a:solidFill>
                <a:latin typeface="Times New Roman" pitchFamily="18" charset="0"/>
                <a:cs typeface="Arial" charset="0"/>
              </a:rPr>
              <a:t>кнм</a:t>
            </a:r>
            <a:r>
              <a:rPr lang="ru-RU" sz="1400" b="1" u="sng" cap="all" dirty="0" smtClean="0">
                <a:solidFill>
                  <a:prstClr val="white"/>
                </a:solidFill>
                <a:latin typeface="Times New Roman" pitchFamily="18" charset="0"/>
                <a:cs typeface="Arial" charset="0"/>
              </a:rPr>
              <a:t> по индикаторам риска за </a:t>
            </a:r>
            <a:r>
              <a:rPr lang="ru-RU" sz="1400" b="1" u="sng" cap="all" dirty="0" smtClean="0">
                <a:solidFill>
                  <a:srgbClr val="F79646">
                    <a:lumMod val="40000"/>
                    <a:lumOff val="60000"/>
                  </a:srgbClr>
                </a:solidFill>
                <a:latin typeface="Times New Roman" pitchFamily="18" charset="0"/>
                <a:cs typeface="Arial" charset="0"/>
              </a:rPr>
              <a:t> 2025 год</a:t>
            </a:r>
            <a:endParaRPr lang="ru-RU" sz="1400" b="1" u="sng" cap="all" dirty="0">
              <a:solidFill>
                <a:srgbClr val="F79646">
                  <a:lumMod val="40000"/>
                  <a:lumOff val="60000"/>
                </a:srgbClr>
              </a:solidFill>
              <a:latin typeface="Times New Roman" pitchFamily="18" charset="0"/>
              <a:cs typeface="Arial" charset="0"/>
            </a:endParaRPr>
          </a:p>
        </p:txBody>
      </p:sp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6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83" y="67151"/>
            <a:ext cx="3219450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7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90" y="525602"/>
            <a:ext cx="417036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057152"/>
              </p:ext>
            </p:extLst>
          </p:nvPr>
        </p:nvGraphicFramePr>
        <p:xfrm>
          <a:off x="179519" y="1012782"/>
          <a:ext cx="8784974" cy="5700139"/>
        </p:xfrm>
        <a:graphic>
          <a:graphicData uri="http://schemas.openxmlformats.org/drawingml/2006/table">
            <a:tbl>
              <a:tblPr/>
              <a:tblGrid>
                <a:gridCol w="1502219"/>
                <a:gridCol w="1886787"/>
                <a:gridCol w="576851"/>
                <a:gridCol w="576851"/>
                <a:gridCol w="576851"/>
                <a:gridCol w="793173"/>
                <a:gridCol w="2872242"/>
              </a:tblGrid>
              <a:tr h="3600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Субъект РФ</a:t>
                      </a:r>
                    </a:p>
                  </a:txBody>
                  <a:tcPr marL="4334" marR="4334" marT="43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Вид надзора</a:t>
                      </a:r>
                    </a:p>
                  </a:txBody>
                  <a:tcPr marL="4334" marR="4334" marT="43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Код индикатора</a:t>
                      </a:r>
                    </a:p>
                  </a:txBody>
                  <a:tcPr marL="4334" marR="4334" marT="43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едостережения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Количество проведенных КНМ</a:t>
                      </a:r>
                    </a:p>
                  </a:txBody>
                  <a:tcPr marL="4334" marR="4334" marT="43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Количество выявленных </a:t>
                      </a: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нарушений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имечание </a:t>
                      </a:r>
                    </a:p>
                  </a:txBody>
                  <a:tcPr marL="4334" marR="4334" marT="43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66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0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 Поступление информации о 3 (трех) и более инцидентах,  в течение одного календарного года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32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 </a:t>
                      </a:r>
                      <a:r>
                        <a:rPr lang="ru-RU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2 </a:t>
                      </a:r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р.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и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 </a:t>
                      </a:r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л.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6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р.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  2 </a:t>
                      </a:r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р.л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и 12 </a:t>
                      </a:r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л.л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66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000" b="1" i="1" u="sng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-3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тсутствие лицензии ВХ при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ксплуатации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ПО более 4-х месяцев с момента их регистрации.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66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3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  2 </a:t>
                      </a:r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р.л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0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Б3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ривлечено к ответственности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юр.л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АПД 90 суток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0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Б3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ривлечено к ответственности  2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юр.л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. 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 </a:t>
                      </a:r>
                      <a:endParaRPr kumimoji="0" lang="ru-RU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(штраф и АПД 90 суток)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069"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1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Б-6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 Нет ЗЭПБ на ТУ применяемое на ОПО III или IV класса с продлением срока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эксп-ии</a:t>
                      </a:r>
                      <a:endParaRPr kumimoji="0" lang="ru-RU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2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801" marR="4801" marT="48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Б6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ривлечено к ответственности  3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юр.л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40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801" marR="4801" marT="48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Б6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ривлечено к ответственности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юр.л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007"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1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Б-7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 Нет ЗЭПБ на ЗС эксплуатируемое на ОПО III или IV класса с продлением срока эксплуатации.                                                                                                                 Нет информации о выводе из эксплуатации ЗС после отриц. ЗЭПБ.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66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Б7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привлечено к ответственности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юр.л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+mn-cs"/>
                        </a:rPr>
                        <a:t>.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0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Б7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р.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по решению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да в виде штрафа 100т.р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230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000" b="1" i="1" u="sng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Б-8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 Наличие положительных ЗЭПБ на ОПО III или IV класса выданных экспертом, выдавшим заведомо ложное ЗЭПБ на этом же ОПО (за два года)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98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Б8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р.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 и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 </a:t>
                      </a:r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л.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912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000" b="1" i="1" u="sng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Э-4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Снижение индекса готовности субъекта электроэнергетики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0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Энергетический надзор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Э4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57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ивлечено к ответственности 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юр.л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. в виде штрафа и 2 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дл.л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. (1 штраф и 1 предупреждение)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66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000" b="1" i="1" u="sng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Г4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- Увеличение объема добычи более чем на 30% от установленной в ПРГР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55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Горный надзор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Г4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л.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66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000" b="1" i="1" u="sng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ЛЭПБ1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 - Трехкратный рост ЗЭПБ в сравнении с предыдущим годом 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98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ицензионный контроль ЭПБ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ЭПБ1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 1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л.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66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000" b="1" i="1" u="sng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ЛЭПБ4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 - Нет ЗЭПБ в течение 2-х лет с момента получения лицензии, либо в течении одного года с последней ЗЭПБ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98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Лицензионный контроль ЭПБ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ЛЭПБ4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организация сдала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лицензию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ходе проверки</a:t>
                      </a: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838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 по Управлению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ивлечено к ответственности 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р.л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и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л.л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</a:t>
                      </a:r>
                      <a:r>
                        <a:rPr lang="ru-RU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в </a:t>
                      </a:r>
                      <a:r>
                        <a:rPr lang="ru-RU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вух случаях </a:t>
                      </a:r>
                      <a:r>
                        <a:rPr lang="ru-RU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 по 90 суток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334" marR="4334" marT="43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780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325720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284285" y="7938"/>
            <a:ext cx="281354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65639" y="1670489"/>
            <a:ext cx="86445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Развивать 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и укреплять работу по профилактике нарушений, действовать на опережение и устранять любые предпосылки возникновения аварий и несчастных случаев. </a:t>
            </a:r>
            <a:endParaRPr lang="ru-RU" sz="1600" dirty="0" smtClean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12507" y="2283105"/>
            <a:ext cx="836815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i="1" dirty="0" smtClean="0">
                <a:solidFill>
                  <a:srgbClr val="002060"/>
                </a:solidFill>
                <a:latin typeface="Times New Roman" pitchFamily="18" charset="0"/>
                <a:cs typeface="Arial" charset="0"/>
              </a:rPr>
              <a:t>Необходимо усиль </a:t>
            </a:r>
            <a:r>
              <a:rPr lang="ru-RU" sz="1400" i="1" dirty="0">
                <a:solidFill>
                  <a:srgbClr val="002060"/>
                </a:solidFill>
                <a:latin typeface="Times New Roman" pitchFamily="18" charset="0"/>
                <a:cs typeface="Arial" charset="0"/>
              </a:rPr>
              <a:t>работу по выявлению срабатывания индикаторов риска нарушений обязательных требований</a:t>
            </a:r>
            <a:r>
              <a:rPr lang="ru-RU" sz="1400" i="1" dirty="0" smtClean="0">
                <a:solidFill>
                  <a:srgbClr val="002060"/>
                </a:solidFill>
                <a:latin typeface="Times New Roman" pitchFamily="18" charset="0"/>
                <a:cs typeface="Arial" charset="0"/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i="1" dirty="0" smtClean="0">
                <a:solidFill>
                  <a:srgbClr val="002060"/>
                </a:solidFill>
                <a:latin typeface="Times New Roman" pitchFamily="18" charset="0"/>
                <a:cs typeface="Arial" charset="0"/>
              </a:rPr>
              <a:t>А также проводить </a:t>
            </a:r>
            <a:r>
              <a:rPr lang="ru-RU" sz="1400" i="1" dirty="0">
                <a:solidFill>
                  <a:srgbClr val="002060"/>
                </a:solidFill>
                <a:latin typeface="Times New Roman" pitchFamily="18" charset="0"/>
                <a:cs typeface="Arial" charset="0"/>
              </a:rPr>
              <a:t>профилактические визиты </a:t>
            </a:r>
            <a:r>
              <a:rPr lang="ru-RU" sz="1400" i="1" dirty="0" smtClean="0">
                <a:solidFill>
                  <a:srgbClr val="002060"/>
                </a:solidFill>
                <a:latin typeface="Times New Roman" pitchFamily="18" charset="0"/>
                <a:cs typeface="Arial" charset="0"/>
              </a:rPr>
              <a:t>при </a:t>
            </a:r>
            <a:r>
              <a:rPr lang="ru-RU" sz="1400" i="1" dirty="0">
                <a:solidFill>
                  <a:srgbClr val="002060"/>
                </a:solidFill>
                <a:latin typeface="Times New Roman" pitchFamily="18" charset="0"/>
                <a:cs typeface="Arial" charset="0"/>
              </a:rPr>
              <a:t>осуществлении видов государственного контроля (надзора</a:t>
            </a:r>
            <a:r>
              <a:rPr lang="ru-RU" sz="1400" i="1" dirty="0" smtClean="0">
                <a:solidFill>
                  <a:srgbClr val="002060"/>
                </a:solidFill>
                <a:latin typeface="Times New Roman" pitchFamily="18" charset="0"/>
                <a:cs typeface="Arial" charset="0"/>
              </a:rPr>
              <a:t>). Применять меры стимулирования добросовестности к контролируемым лицам.</a:t>
            </a:r>
            <a:endParaRPr lang="ru-RU" sz="1400" i="1" dirty="0">
              <a:solidFill>
                <a:srgbClr val="002060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65639" y="3225949"/>
            <a:ext cx="86445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Повышать 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информированность общественности, юридических лиц и индивидуальных </a:t>
            </a: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предпринимателей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99844" y="4683432"/>
            <a:ext cx="86445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Принимать 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незамедлительные меры реагирования при получении информации или сведений от граждан, общественных, профсоюзных организаций или надзорных органов об имеющихся нарушениях, которые представляют угрозу жизни и здоровью людей</a:t>
            </a: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48507" y="3789040"/>
            <a:ext cx="836815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i="1" dirty="0" smtClean="0">
                <a:solidFill>
                  <a:srgbClr val="002060"/>
                </a:solidFill>
                <a:latin typeface="Times New Roman" pitchFamily="18" charset="0"/>
                <a:cs typeface="Arial" charset="0"/>
              </a:rPr>
              <a:t>Продолжить проведение публичных обсуждений, размещение информационных материалов на официальном сайте Управления, проведение рабочих встреч с представителями поднадзорных организаций</a:t>
            </a:r>
            <a:endParaRPr lang="ru-RU" sz="1400" i="1" dirty="0">
              <a:solidFill>
                <a:srgbClr val="002060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349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26" y="10215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61" y="13558"/>
            <a:ext cx="2974975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074" y="504590"/>
            <a:ext cx="38592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67950" y="234853"/>
            <a:ext cx="44804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600" b="1" u="sng" kern="0" cap="all" dirty="0">
                <a:solidFill>
                  <a:schemeClr val="bg1"/>
                </a:solidFill>
                <a:latin typeface="Times New Roman" pitchFamily="18" charset="0"/>
                <a:cs typeface="Times New Roman" panose="02020603050405020304" pitchFamily="18" charset="0"/>
              </a:rPr>
              <a:t>О дальнейшей работе Сибирского управления в рамках полномочий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48507" y="1269881"/>
            <a:ext cx="82883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ить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о проведения плановых контрольных (надзорных) мероприятий</a:t>
            </a:r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3" y="1181447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43" y="1690259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43" y="3207465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608" y="4607523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24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8618202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pic>
        <p:nvPicPr>
          <p:cNvPr id="17" name="Рисунок 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9144000" cy="1008112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802427" y="10820"/>
            <a:ext cx="2886134" cy="4685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Федеральная </a:t>
            </a: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лужба </a:t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экологическому, технологическому </a:t>
            </a: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15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015" b="1" dirty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томному надзору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2427" y="526157"/>
            <a:ext cx="3750230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ОСТЕХНАДЗОР</a:t>
            </a:r>
            <a:r>
              <a:rPr lang="en-US" sz="12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ИБИРСКОЕ УПРАВЛЕНИЕ)</a:t>
            </a:r>
            <a:endParaRPr lang="ru-RU" sz="1000" b="1" dirty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19" descr="fsetan_emblema200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63" y="61996"/>
            <a:ext cx="668262" cy="80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18"/>
          <p:cNvSpPr txBox="1">
            <a:spLocks noChangeArrowheads="1"/>
          </p:cNvSpPr>
          <p:nvPr/>
        </p:nvSpPr>
        <p:spPr bwMode="auto">
          <a:xfrm>
            <a:off x="118457" y="1052736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043608" y="1628800"/>
            <a:ext cx="8004641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2025 год;</a:t>
            </a:r>
          </a:p>
          <a:p>
            <a:endParaRPr lang="ru-RU" dirty="0" smtClean="0">
              <a:latin typeface="Arial Narrow" panose="020B0606020202030204" pitchFamily="34" charset="0"/>
            </a:endParaRPr>
          </a:p>
          <a:p>
            <a:r>
              <a:rPr lang="ru-RU" dirty="0" smtClean="0">
                <a:latin typeface="Arial Narrow" panose="020B0606020202030204" pitchFamily="34" charset="0"/>
              </a:rPr>
              <a:t>О </a:t>
            </a:r>
            <a:r>
              <a:rPr lang="ru-RU" dirty="0">
                <a:latin typeface="Arial Narrow" panose="020B0606020202030204" pitchFamily="34" charset="0"/>
              </a:rPr>
              <a:t>результатах правоприменительной практики Сибирского управления Ростехнадзора за 2025 год при осуществлении федерального государственного энергетического надзора в сфере электроэнергетики;</a:t>
            </a:r>
          </a:p>
          <a:p>
            <a:endParaRPr lang="ru-RU" dirty="0" smtClean="0">
              <a:latin typeface="Arial Narrow" panose="020B0606020202030204" pitchFamily="34" charset="0"/>
            </a:endParaRPr>
          </a:p>
          <a:p>
            <a:r>
              <a:rPr lang="ru-RU" dirty="0" smtClean="0">
                <a:latin typeface="Arial Narrow" panose="020B0606020202030204" pitchFamily="34" charset="0"/>
              </a:rPr>
              <a:t>О </a:t>
            </a:r>
            <a:r>
              <a:rPr lang="ru-RU" dirty="0">
                <a:latin typeface="Arial Narrow" panose="020B0606020202030204" pitchFamily="34" charset="0"/>
              </a:rPr>
              <a:t>правилах расследования причин аварий и инцидентов в электроэнергетике и новом Порядке передачи оперативной информации об авариях и инцидентах в электроэнергетике;</a:t>
            </a:r>
          </a:p>
          <a:p>
            <a:endParaRPr lang="ru-RU" dirty="0" smtClean="0">
              <a:latin typeface="Arial Narrow" panose="020B0606020202030204" pitchFamily="34" charset="0"/>
            </a:endParaRPr>
          </a:p>
          <a:p>
            <a:r>
              <a:rPr lang="ru-RU" dirty="0" smtClean="0">
                <a:latin typeface="Arial Narrow" panose="020B0606020202030204" pitchFamily="34" charset="0"/>
              </a:rPr>
              <a:t>О </a:t>
            </a:r>
            <a:r>
              <a:rPr lang="ru-RU" dirty="0">
                <a:latin typeface="Arial Narrow" panose="020B0606020202030204" pitchFamily="34" charset="0"/>
              </a:rPr>
              <a:t>подготовке к прохождению весеннего паводка 2026 года.</a:t>
            </a:r>
          </a:p>
          <a:p>
            <a:endParaRPr lang="ru-RU" dirty="0" smtClean="0">
              <a:latin typeface="Arial Narrow" panose="020B0606020202030204" pitchFamily="34" charset="0"/>
            </a:endParaRPr>
          </a:p>
          <a:p>
            <a:r>
              <a:rPr lang="ru-RU" dirty="0" smtClean="0">
                <a:latin typeface="Arial Narrow" panose="020B0606020202030204" pitchFamily="34" charset="0"/>
              </a:rPr>
              <a:t>По </a:t>
            </a:r>
            <a:r>
              <a:rPr lang="ru-RU" dirty="0">
                <a:latin typeface="Arial Narrow" panose="020B0606020202030204" pitchFamily="34" charset="0"/>
              </a:rPr>
              <a:t>вопросам профилактики и противодействия коррупции.</a:t>
            </a:r>
            <a:endParaRPr lang="ru-RU" dirty="0" smtClean="0">
              <a:latin typeface="Arial Narrow" panose="020B0606020202030204" pitchFamily="34" charset="0"/>
            </a:endParaRPr>
          </a:p>
          <a:p>
            <a:endParaRPr lang="ru-RU" dirty="0">
              <a:latin typeface="Arial Narrow" panose="020B0606020202030204" pitchFamily="34" charset="0"/>
            </a:endParaRPr>
          </a:p>
        </p:txBody>
      </p:sp>
      <p:pic>
        <p:nvPicPr>
          <p:cNvPr id="1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34" y="1452846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34" y="234888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43" y="3416565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43" y="436510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890" y="503689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977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791754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284285" y="7938"/>
            <a:ext cx="281354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349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26" y="10215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61" y="13558"/>
            <a:ext cx="2974975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074" y="504590"/>
            <a:ext cx="38592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ext Box 18"/>
          <p:cNvSpPr txBox="1">
            <a:spLocks noChangeArrowheads="1"/>
          </p:cNvSpPr>
          <p:nvPr/>
        </p:nvSpPr>
        <p:spPr bwMode="auto">
          <a:xfrm>
            <a:off x="877380" y="1007824"/>
            <a:ext cx="832409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Государственные услуги в электронной форме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784046" y="1556792"/>
            <a:ext cx="818044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 получения государственных услуг в электронной форме через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12"/>
              </a:rPr>
              <a:t>Единый портал государственных и муниципальных услуг/функций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b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круглосуточная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сть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endParaRPr lang="ru-RU" sz="18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ия услуги из любого удобного места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еративный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бесконтактный документооборот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зрачность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я государственных услуг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85750" indent="-285750">
              <a:buFontTx/>
              <a:buChar char="-"/>
            </a:pPr>
            <a:endParaRPr lang="ru-RU" sz="18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повышение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а и оперативности принимаемых решений за счёт обеспечения электронного взаимодействия между ведомствами в процессе оказания государственной услуги.</a:t>
            </a:r>
          </a:p>
        </p:txBody>
      </p:sp>
      <p:pic>
        <p:nvPicPr>
          <p:cNvPr id="3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911" y="2258263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631" y="2773684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9" y="3412386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911" y="3915572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88" y="4430993"/>
            <a:ext cx="515421" cy="51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033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0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 txBox="1">
            <a:spLocks/>
          </p:cNvSpPr>
          <p:nvPr/>
        </p:nvSpPr>
        <p:spPr>
          <a:xfrm>
            <a:off x="8733251" y="5714486"/>
            <a:ext cx="558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F814217-A692-4320-9F69-D25E0A5EB74C}" type="slidenum">
              <a:rPr lang="ru-RU" b="0" smtClean="0">
                <a:solidFill>
                  <a:prstClr val="white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ru-RU" b="0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779460" y="1012701"/>
            <a:ext cx="581556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b="0" dirty="0" smtClean="0">
                <a:solidFill>
                  <a:prstClr val="black">
                    <a:lumMod val="9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остоянию на 01.01.2026 год Управлению поднадзорно: </a:t>
            </a:r>
            <a:endParaRPr lang="ru-RU" sz="1600" b="0" dirty="0">
              <a:solidFill>
                <a:prstClr val="black">
                  <a:lumMod val="95000"/>
                </a:prst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457872" y="1351255"/>
            <a:ext cx="6458738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372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рганизации, осуществляющи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ь в области промышленной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ости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710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асных производственн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ов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8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плов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станций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0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3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еплосетевые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рганизации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более 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78 </a:t>
            </a:r>
            <a:r>
              <a:rPr lang="ru-RU" sz="16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линий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передач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около 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sz="16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яч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тельных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около 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 </a:t>
            </a:r>
            <a:r>
              <a:rPr lang="ru-RU" sz="16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еплов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тей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80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роительства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357188" algn="l"/>
              </a:tabLst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●	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1 тыс. км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гистральн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бопроводов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63" descr="https://vsednr.ru/wp-content/uploads/2021/04/ochistnoy-zaboy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339" y="1276884"/>
            <a:ext cx="2044081" cy="1475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5" descr="https://img-fotki.yandex.ru/get/6814/51604349.144/0_bf9ba_64df8e6c_ori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312" y="2924950"/>
            <a:ext cx="2044082" cy="1648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490" y="4823920"/>
            <a:ext cx="2044267" cy="125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1578743"/>
              </p:ext>
            </p:extLst>
          </p:nvPr>
        </p:nvGraphicFramePr>
        <p:xfrm>
          <a:off x="2531227" y="4365104"/>
          <a:ext cx="6432843" cy="1991868"/>
        </p:xfrm>
        <a:graphic>
          <a:graphicData uri="http://schemas.openxmlformats.org/drawingml/2006/table">
            <a:tbl>
              <a:tblPr firstRow="1" bandRow="1"/>
              <a:tblGrid>
                <a:gridCol w="1661683"/>
                <a:gridCol w="1218636"/>
                <a:gridCol w="1178504"/>
                <a:gridCol w="1187010"/>
                <a:gridCol w="1187010"/>
              </a:tblGrid>
              <a:tr h="301689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4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sng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Класс опасност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521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І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чрезвычайно высокая опасность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ІІ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высокая опасность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ІІІ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средняя опасность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І</a:t>
                      </a:r>
                      <a:r>
                        <a:rPr lang="en-US" sz="1400" kern="1200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V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низкая 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опасность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</a:tr>
              <a:tr h="4064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всего по Управлению: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9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9525" marR="25200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8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9525" marR="25200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 68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9525" marR="25200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 24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9525" marR="25200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</a:tr>
            </a:tbl>
          </a:graphicData>
        </a:graphic>
      </p:graphicFrame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42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104375" y="195900"/>
            <a:ext cx="80283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опасных </a:t>
            </a:r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ственных </a:t>
            </a:r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ах </a:t>
            </a:r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эксплуатирующих </a:t>
            </a:r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х, </a:t>
            </a:r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надзорных Сибирскому управлению Ростехнадзора</a:t>
            </a:r>
          </a:p>
        </p:txBody>
      </p:sp>
    </p:spTree>
    <p:extLst>
      <p:ext uri="{BB962C8B-B14F-4D97-AF65-F5344CB8AC3E}">
        <p14:creationId xmlns:p14="http://schemas.microsoft.com/office/powerpoint/2010/main" val="1047915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0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943222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5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27198" y="5949281"/>
            <a:ext cx="554023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24591" y="215771"/>
            <a:ext cx="8047771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kern="0" cap="all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1" kern="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показателей надзорной деятельности по </a:t>
            </a:r>
            <a:r>
              <a:rPr lang="ru-RU" sz="2000" b="1" kern="0" cap="all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ОСНОВНЫМ видам </a:t>
            </a:r>
            <a:r>
              <a:rPr lang="ru-RU" sz="2000" b="1" kern="0" cap="all" dirty="0">
                <a:solidFill>
                  <a:schemeClr val="bg1"/>
                </a:solidFill>
                <a:cs typeface="Times New Roman" panose="02020603050405020304" pitchFamily="18" charset="0"/>
              </a:rPr>
              <a:t>надзора</a:t>
            </a:r>
            <a:endParaRPr kumimoji="0" lang="ru-RU" sz="2000" b="1" i="0" strike="noStrike" kern="0" cap="all" spc="0" normalizeH="0" noProof="0" dirty="0">
              <a:ln>
                <a:noFill/>
              </a:ln>
              <a:solidFill>
                <a:schemeClr val="bg1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1804310"/>
              </p:ext>
            </p:extLst>
          </p:nvPr>
        </p:nvGraphicFramePr>
        <p:xfrm>
          <a:off x="232653" y="1412776"/>
          <a:ext cx="8727573" cy="4547267"/>
        </p:xfrm>
        <a:graphic>
          <a:graphicData uri="http://schemas.openxmlformats.org/drawingml/2006/table">
            <a:tbl>
              <a:tblPr/>
              <a:tblGrid>
                <a:gridCol w="575109"/>
                <a:gridCol w="2753158"/>
                <a:gridCol w="1650746"/>
                <a:gridCol w="1226802"/>
                <a:gridCol w="1158646"/>
                <a:gridCol w="1363112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</a:t>
                      </a:r>
                      <a:endParaRPr lang="ru-RU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/п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надзор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1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5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овых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5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36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2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ыявленных нарушений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981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2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46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55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05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адм.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казаний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83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4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2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86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5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4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4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4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48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едостережен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64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7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7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.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876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63,6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3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.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5480" marR="5480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6975,9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05,15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5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00</a:t>
                      </a:r>
                    </a:p>
                  </a:txBody>
                  <a:tcPr marL="8792" marR="8792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6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9006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0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448336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6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27198" y="5949281"/>
            <a:ext cx="554023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6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Объект 1"/>
          <p:cNvSpPr txBox="1">
            <a:spLocks/>
          </p:cNvSpPr>
          <p:nvPr/>
        </p:nvSpPr>
        <p:spPr>
          <a:xfrm>
            <a:off x="467544" y="1268760"/>
            <a:ext cx="8484565" cy="17463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Clr>
                <a:srgbClr val="31B6FD"/>
              </a:buClr>
              <a:buFont typeface="Symbol" pitchFamily="18" charset="2"/>
              <a:buNone/>
              <a:defRPr/>
            </a:pPr>
            <a:r>
              <a:rPr lang="ru-RU" sz="180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амках исполнения программы газификации (</a:t>
            </a:r>
            <a:r>
              <a:rPr lang="ru-RU" sz="1800" dirty="0" err="1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газификации</a:t>
            </a:r>
            <a:r>
              <a:rPr lang="ru-RU" sz="180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регионов Сибирское управление Ростехнадзора приняло участие в 1412 комиссиях в приёмке сетей газораспределения и </a:t>
            </a:r>
            <a:r>
              <a:rPr lang="ru-RU" sz="1800" dirty="0" err="1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зопотребления</a:t>
            </a:r>
            <a:r>
              <a:rPr lang="ru-RU" sz="180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расположенных на территориях подконтрольных субъектов в соответствии с требованиями Технического регламента о безопасности сетей газораспределения и газопотребления, утверждённого постановлением Правительства Российской Федерации от 29.10.2010 № 870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51619" y="4641538"/>
            <a:ext cx="68407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685817"/>
            <a:r>
              <a:rPr lang="ru-RU" alt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а по выдаче разрешений на допуск в эксплуатацию</a:t>
            </a:r>
            <a:endParaRPr lang="ru-RU" alt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4171184"/>
              </p:ext>
            </p:extLst>
          </p:nvPr>
        </p:nvGraphicFramePr>
        <p:xfrm>
          <a:off x="251554" y="5661248"/>
          <a:ext cx="3959932" cy="822960"/>
        </p:xfrm>
        <a:graphic>
          <a:graphicData uri="http://schemas.openxmlformats.org/drawingml/2006/table">
            <a:tbl>
              <a:tblPr/>
              <a:tblGrid>
                <a:gridCol w="3095836"/>
                <a:gridCol w="864096"/>
              </a:tblGrid>
              <a:tr h="3333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пущено в эксплуатацию новых, реконструированных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пловых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установок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1452502"/>
              </p:ext>
            </p:extLst>
          </p:nvPr>
        </p:nvGraphicFramePr>
        <p:xfrm>
          <a:off x="4883590" y="5661248"/>
          <a:ext cx="3985332" cy="832485"/>
        </p:xfrm>
        <a:graphic>
          <a:graphicData uri="http://schemas.openxmlformats.org/drawingml/2006/table">
            <a:tbl>
              <a:tblPr/>
              <a:tblGrid>
                <a:gridCol w="3121236"/>
                <a:gridCol w="864096"/>
              </a:tblGrid>
              <a:tr h="3333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пущено в эксплуатацию новых, реконструированных </a:t>
                      </a: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лектроустановок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</a:tr>
            </a:tbl>
          </a:graphicData>
        </a:graphic>
      </p:graphicFrame>
      <p:cxnSp>
        <p:nvCxnSpPr>
          <p:cNvPr id="9" name="Прямая со стрелкой 8"/>
          <p:cNvCxnSpPr/>
          <p:nvPr/>
        </p:nvCxnSpPr>
        <p:spPr>
          <a:xfrm flipH="1">
            <a:off x="1486710" y="5013176"/>
            <a:ext cx="504056" cy="5667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6876256" y="5013176"/>
            <a:ext cx="432048" cy="5667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199046"/>
              </p:ext>
            </p:extLst>
          </p:nvPr>
        </p:nvGraphicFramePr>
        <p:xfrm>
          <a:off x="1043606" y="3140968"/>
          <a:ext cx="7056785" cy="94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357"/>
                <a:gridCol w="1411357"/>
                <a:gridCol w="1411357"/>
                <a:gridCol w="1411357"/>
                <a:gridCol w="1411357"/>
              </a:tblGrid>
              <a:tr h="49098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емеровская область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овосибирская область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тайский край Республика Алтай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кая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ласть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мская область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0109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7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6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6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5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8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8388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0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0089872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9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27198" y="5949281"/>
            <a:ext cx="554023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6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115616" y="288233"/>
            <a:ext cx="80283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взаимодействии</a:t>
            </a:r>
            <a:endParaRPr lang="ru-RU" sz="24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5787" y="1109457"/>
            <a:ext cx="892899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бирским управлением Ростехнадзора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ы соглашения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 информационном обмене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гражданской обороны и защиты в чрезвычайных ситуациях с главными управлениями МЧС России п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едующим субъектам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сийской Федерации: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емеровская, Новосибирская, Томская, Омская, Амурская области; Алтайский край; Республика Алтай; Красноярский край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49820" y="2605759"/>
            <a:ext cx="8640926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2025 году Управление 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вовало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9 штабных тренировках, заседаниях комиссии (КЧС и ОПБ), проверках готовности по вопросам обеспечения безаварийного пропуска паводков, а также защиты населенных пунктов, объектов экономики и социальной инфраструктуры от ландшафтных (природных)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жаров.</a:t>
            </a:r>
          </a:p>
          <a:p>
            <a:endParaRPr lang="ru-RU" sz="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5 комплексных учениях по подтверждению готовности эксплуатирующих организаций к действиям по локализации разливов нефти и нефтепродуктов и ликвидации разливов нефти 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фтепродуктов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аве межведомственной комиссии в марте-апреле 2025 года совместно с территориальными органами МЧС России проведены обследования 32 ГТС (Алтайский край – 23, Новосибирская область – 8, Томская область – 1). В осенний период 2025 года проведены обследования 9 защитных ГТС на территории Томской области и 11 ГТС на территории Республики Алтай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ru-RU" sz="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 комплексных учения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ах трубопроводного транспорта по подтверждению готовности эксплуатирующих организаций к действиям по локализации разливов нефти и нефтепродуктов и ликвидации разливов нефти 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фтепродуктов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63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323676"/>
              </p:ext>
            </p:extLst>
          </p:nvPr>
        </p:nvGraphicFramePr>
        <p:xfrm>
          <a:off x="1510" y="1590"/>
          <a:ext cx="146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8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0" y="1590"/>
                        <a:ext cx="146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1"/>
            <a:ext cx="14653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8369802"/>
              </p:ext>
            </p:extLst>
          </p:nvPr>
        </p:nvGraphicFramePr>
        <p:xfrm>
          <a:off x="251521" y="1124746"/>
          <a:ext cx="8770908" cy="5513227"/>
        </p:xfrm>
        <a:graphic>
          <a:graphicData uri="http://schemas.openxmlformats.org/drawingml/2006/table">
            <a:tbl>
              <a:tblPr/>
              <a:tblGrid>
                <a:gridCol w="283824"/>
                <a:gridCol w="3391379"/>
                <a:gridCol w="475193"/>
                <a:gridCol w="388938"/>
                <a:gridCol w="384688"/>
                <a:gridCol w="461628"/>
                <a:gridCol w="384688"/>
                <a:gridCol w="384688"/>
                <a:gridCol w="538565"/>
                <a:gridCol w="384688"/>
                <a:gridCol w="384688"/>
                <a:gridCol w="538565"/>
                <a:gridCol w="384688"/>
                <a:gridCol w="384688"/>
              </a:tblGrid>
              <a:tr h="267719"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№ п/п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ид надзора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мертельный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Тяжелый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Общий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Аварии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95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3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3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3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3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3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3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23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13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  <a:endParaRPr lang="ru-RU" sz="13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в угольной промышленности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6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6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69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5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4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899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  <a:endParaRPr lang="ru-RU" sz="13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в горнорудной и нерудной промышленности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35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  <a:endParaRPr lang="ru-RU" sz="13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Энергетический надзор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15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400"/>
                        </a:spcAft>
                      </a:pPr>
                      <a:r>
                        <a:rPr lang="ru-RU" sz="13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за металлургическими и коксохимическими </a:t>
                      </a: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роизводствами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15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400"/>
                        </a:spcAft>
                      </a:pPr>
                      <a:r>
                        <a:rPr lang="ru-RU" sz="13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5</a:t>
                      </a: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за объектами нефтехимической и </a:t>
                      </a: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ефтегазоперерабатывающей отросли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899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400"/>
                        </a:spcAft>
                      </a:pPr>
                      <a:r>
                        <a:rPr lang="ru-RU" sz="13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6</a:t>
                      </a: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за </a:t>
                      </a: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грузоподъемными 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механизмами и подъемными сооружениями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6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899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400"/>
                        </a:spcAft>
                      </a:pPr>
                      <a:r>
                        <a:rPr lang="ru-RU" sz="13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7</a:t>
                      </a: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за объектами оборонно-промышленного комплекса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6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3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400"/>
                        </a:spcAft>
                      </a:pPr>
                      <a:r>
                        <a:rPr lang="ru-RU" sz="13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8</a:t>
                      </a: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Котлонадзор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899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400"/>
                        </a:spcAft>
                      </a:pPr>
                      <a:r>
                        <a:rPr lang="ru-RU" sz="13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9</a:t>
                      </a: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за объектами магистрального трубопроводного транспорта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899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400"/>
                        </a:spcAft>
                      </a:pPr>
                      <a:r>
                        <a:rPr lang="ru-RU" sz="13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за объектами газораспределения и </a:t>
                      </a:r>
                      <a:r>
                        <a:rPr lang="ru-RU" sz="1200" kern="1200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газопотребления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13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1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за объектами </a:t>
                      </a:r>
                      <a:r>
                        <a:rPr lang="ru-RU" sz="1200" kern="1200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ефтегазодобычи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771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2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за предприятиями химического комплекса</a:t>
                      </a: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4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771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3</a:t>
                      </a:r>
                      <a:endParaRPr lang="ru-RU" sz="13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дзор за взрывчатыми материалами</a:t>
                      </a:r>
                      <a:endParaRPr lang="ru-RU" sz="1200" kern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893"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Общее количество по Управлению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273" marR="4273" marT="4629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2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3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5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4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109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2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4</a:t>
                      </a:r>
                      <a:endParaRPr lang="ru-RU" sz="13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7</a:t>
                      </a:r>
                      <a:endParaRPr lang="ru-RU" sz="1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123" marR="7123" marT="7716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 flipV="1">
            <a:off x="7092280" y="6858000"/>
            <a:ext cx="2133600" cy="171400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5706" name="Picture 10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 Box 18"/>
          <p:cNvSpPr txBox="1">
            <a:spLocks noChangeArrowheads="1"/>
          </p:cNvSpPr>
          <p:nvPr/>
        </p:nvSpPr>
        <p:spPr bwMode="auto">
          <a:xfrm>
            <a:off x="3275856" y="87740"/>
            <a:ext cx="586814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600" b="1" u="sng" kern="0" cap="all" dirty="0" smtClean="0">
                <a:solidFill>
                  <a:schemeClr val="bg1"/>
                </a:solidFill>
                <a:latin typeface="Times New Roman" pitchFamily="18" charset="0"/>
                <a:cs typeface="Times New Roman" panose="02020603050405020304" pitchFamily="18" charset="0"/>
              </a:rPr>
              <a:t>Об АВАРИЯХ, </a:t>
            </a:r>
            <a:r>
              <a:rPr lang="ru-RU" sz="1600" b="1" u="sng" kern="0" cap="all" dirty="0">
                <a:solidFill>
                  <a:schemeClr val="bg1"/>
                </a:solidFill>
                <a:latin typeface="Times New Roman" pitchFamily="18" charset="0"/>
                <a:cs typeface="Times New Roman" panose="02020603050405020304" pitchFamily="18" charset="0"/>
              </a:rPr>
              <a:t>смертельном </a:t>
            </a:r>
            <a:r>
              <a:rPr lang="ru-RU" sz="1600" b="1" u="sng" kern="0" cap="all" dirty="0" smtClean="0">
                <a:solidFill>
                  <a:schemeClr val="bg1"/>
                </a:solidFill>
                <a:latin typeface="Times New Roman" pitchFamily="18" charset="0"/>
                <a:cs typeface="Times New Roman" panose="02020603050405020304" pitchFamily="18" charset="0"/>
              </a:rPr>
              <a:t>И ТЯЖЕЛОМ травматизме </a:t>
            </a:r>
            <a:r>
              <a:rPr lang="ru-RU" sz="1600" b="1" u="sng" kern="0" cap="all" dirty="0">
                <a:solidFill>
                  <a:schemeClr val="bg1"/>
                </a:solidFill>
                <a:latin typeface="Times New Roman" pitchFamily="18" charset="0"/>
                <a:cs typeface="Times New Roman" panose="02020603050405020304" pitchFamily="18" charset="0"/>
              </a:rPr>
              <a:t>на поднадзорных предприятиях за </a:t>
            </a:r>
            <a:r>
              <a:rPr lang="ru-RU" sz="1600" b="1" u="sng" kern="0" cap="all" dirty="0" smtClean="0">
                <a:solidFill>
                  <a:schemeClr val="bg1"/>
                </a:solidFill>
                <a:latin typeface="Times New Roman" pitchFamily="18" charset="0"/>
                <a:cs typeface="Times New Roman" panose="02020603050405020304" pitchFamily="18" charset="0"/>
              </a:rPr>
              <a:t>2023-2025 года по </a:t>
            </a:r>
            <a:r>
              <a:rPr lang="ru-RU" sz="1600" b="1" u="sng" kern="0" cap="all" dirty="0">
                <a:solidFill>
                  <a:schemeClr val="bg1"/>
                </a:solidFill>
                <a:latin typeface="Times New Roman" pitchFamily="18" charset="0"/>
                <a:cs typeface="Times New Roman" panose="02020603050405020304" pitchFamily="18" charset="0"/>
              </a:rPr>
              <a:t>видам надзора</a:t>
            </a:r>
          </a:p>
        </p:txBody>
      </p:sp>
      <p:pic>
        <p:nvPicPr>
          <p:cNvPr id="21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708" name="Picture 10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898" y="36477"/>
            <a:ext cx="3219451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709" name="Picture 10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727" y="519065"/>
            <a:ext cx="38592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5309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389404"/>
              </p:ext>
            </p:extLst>
          </p:nvPr>
        </p:nvGraphicFramePr>
        <p:xfrm>
          <a:off x="1500" y="1590"/>
          <a:ext cx="146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00" y="1590"/>
                        <a:ext cx="146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1"/>
            <a:ext cx="14653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38260" y="6492947"/>
            <a:ext cx="2133600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5706" name="Picture 10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 Box 18"/>
          <p:cNvSpPr txBox="1">
            <a:spLocks noChangeArrowheads="1"/>
          </p:cNvSpPr>
          <p:nvPr/>
        </p:nvSpPr>
        <p:spPr bwMode="auto">
          <a:xfrm>
            <a:off x="3923928" y="87740"/>
            <a:ext cx="522007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u="sng" kern="0" cap="all" dirty="0" smtClean="0">
                <a:solidFill>
                  <a:prstClr val="white"/>
                </a:solidFill>
                <a:latin typeface="Times New Roman" pitchFamily="18" charset="0"/>
                <a:cs typeface="Times New Roman" panose="02020603050405020304" pitchFamily="18" charset="0"/>
              </a:rPr>
              <a:t>Распределение аварий </a:t>
            </a:r>
          </a:p>
          <a:p>
            <a:pPr algn="ctr">
              <a:defRPr/>
            </a:pPr>
            <a:r>
              <a:rPr lang="ru-RU" sz="1600" b="1" u="sng" kern="0" cap="all" dirty="0" smtClean="0">
                <a:solidFill>
                  <a:prstClr val="white"/>
                </a:solidFill>
                <a:latin typeface="Times New Roman" pitchFamily="18" charset="0"/>
                <a:cs typeface="Times New Roman" panose="02020603050405020304" pitchFamily="18" charset="0"/>
              </a:rPr>
              <a:t>по </a:t>
            </a:r>
            <a:r>
              <a:rPr lang="ru-RU" sz="1600" b="1" u="sng" kern="0" cap="all" dirty="0">
                <a:solidFill>
                  <a:prstClr val="white"/>
                </a:solidFill>
                <a:latin typeface="Times New Roman" pitchFamily="18" charset="0"/>
                <a:cs typeface="Times New Roman" panose="02020603050405020304" pitchFamily="18" charset="0"/>
              </a:rPr>
              <a:t>классам </a:t>
            </a:r>
            <a:r>
              <a:rPr lang="ru-RU" sz="1600" b="1" u="sng" kern="0" cap="all" dirty="0" smtClean="0">
                <a:solidFill>
                  <a:prstClr val="white"/>
                </a:solidFill>
                <a:latin typeface="Times New Roman" pitchFamily="18" charset="0"/>
                <a:cs typeface="Times New Roman" panose="02020603050405020304" pitchFamily="18" charset="0"/>
              </a:rPr>
              <a:t>опасности </a:t>
            </a:r>
          </a:p>
          <a:p>
            <a:pPr algn="ctr">
              <a:defRPr/>
            </a:pPr>
            <a:r>
              <a:rPr lang="ru-RU" sz="1600" b="1" u="sng" kern="0" cap="all" dirty="0" smtClean="0">
                <a:solidFill>
                  <a:prstClr val="white"/>
                </a:solidFill>
                <a:latin typeface="Times New Roman" pitchFamily="18" charset="0"/>
                <a:cs typeface="Times New Roman" panose="02020603050405020304" pitchFamily="18" charset="0"/>
              </a:rPr>
              <a:t>за 2020-2025 года</a:t>
            </a:r>
            <a:endParaRPr lang="ru-RU" sz="1600" b="1" u="sng" kern="0" cap="all" dirty="0">
              <a:solidFill>
                <a:prstClr val="white"/>
              </a:solidFill>
              <a:latin typeface="Times New Roman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708" name="Picture 10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898" y="36477"/>
            <a:ext cx="3219451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709" name="Picture 10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727" y="519065"/>
            <a:ext cx="38592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3428501"/>
              </p:ext>
            </p:extLst>
          </p:nvPr>
        </p:nvGraphicFramePr>
        <p:xfrm>
          <a:off x="251523" y="1196755"/>
          <a:ext cx="4320478" cy="5472992"/>
        </p:xfrm>
        <a:graphic>
          <a:graphicData uri="http://schemas.openxmlformats.org/drawingml/2006/table">
            <a:tbl>
              <a:tblPr/>
              <a:tblGrid>
                <a:gridCol w="1201936"/>
                <a:gridCol w="519757"/>
                <a:gridCol w="519757"/>
                <a:gridCol w="519757"/>
                <a:gridCol w="519757"/>
                <a:gridCol w="519757"/>
                <a:gridCol w="519757"/>
              </a:tblGrid>
              <a:tr h="363944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ru-RU" sz="15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пределение аварий по классам опасности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3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52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 опасности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398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98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98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I </a:t>
                      </a: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98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V </a:t>
                      </a: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26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ергонадзо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524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 по Управлению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17677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94652">
                <a:tc gridSpan="7"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этом аварии на ОПО IV класса опасности в 85% случаев произошли при эксплуатации подъемных механизмов 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2025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;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 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;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1; 2022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; 2021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).</a:t>
                      </a:r>
                    </a:p>
                    <a:p>
                      <a:pPr algn="l" fontAlgn="t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сравнении с авариями на шахтах- это 46%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от общего числа аварий на ОПО 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ласса опасности. </a:t>
                      </a:r>
                    </a:p>
                    <a:p>
                      <a:pPr algn="l" fontAlgn="t"/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854156">
                <a:tc gridSpan="7"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арии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ОПО III класса опасности в 50% случаев произошли на объектах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зопотребеления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2024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; 2023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;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1)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2627840104"/>
              </p:ext>
            </p:extLst>
          </p:nvPr>
        </p:nvGraphicFramePr>
        <p:xfrm>
          <a:off x="4572001" y="1124744"/>
          <a:ext cx="4559314" cy="5472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94885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931665"/>
              </p:ext>
            </p:extLst>
          </p:nvPr>
        </p:nvGraphicFramePr>
        <p:xfrm>
          <a:off x="1500" y="1590"/>
          <a:ext cx="146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00" y="1590"/>
                        <a:ext cx="146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1"/>
            <a:ext cx="14653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38260" y="6492947"/>
            <a:ext cx="2133600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5706" name="Picture 10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 Box 18"/>
          <p:cNvSpPr txBox="1">
            <a:spLocks noChangeArrowheads="1"/>
          </p:cNvSpPr>
          <p:nvPr/>
        </p:nvSpPr>
        <p:spPr bwMode="auto">
          <a:xfrm>
            <a:off x="3563890" y="87740"/>
            <a:ext cx="558011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u="sng" kern="0" cap="all" dirty="0" smtClean="0">
                <a:solidFill>
                  <a:prstClr val="white"/>
                </a:solidFill>
                <a:latin typeface="Times New Roman" pitchFamily="18" charset="0"/>
                <a:cs typeface="Times New Roman" panose="02020603050405020304" pitchFamily="18" charset="0"/>
              </a:rPr>
              <a:t>Распределение смертельного травматизма по </a:t>
            </a:r>
            <a:r>
              <a:rPr lang="ru-RU" sz="1600" b="1" u="sng" kern="0" cap="all" dirty="0">
                <a:solidFill>
                  <a:prstClr val="white"/>
                </a:solidFill>
                <a:latin typeface="Times New Roman" pitchFamily="18" charset="0"/>
                <a:cs typeface="Times New Roman" panose="02020603050405020304" pitchFamily="18" charset="0"/>
              </a:rPr>
              <a:t>классам </a:t>
            </a:r>
            <a:r>
              <a:rPr lang="ru-RU" sz="1600" b="1" u="sng" kern="0" cap="all" dirty="0" smtClean="0">
                <a:solidFill>
                  <a:prstClr val="white"/>
                </a:solidFill>
                <a:latin typeface="Times New Roman" pitchFamily="18" charset="0"/>
                <a:cs typeface="Times New Roman" panose="02020603050405020304" pitchFamily="18" charset="0"/>
              </a:rPr>
              <a:t>опасности </a:t>
            </a:r>
          </a:p>
          <a:p>
            <a:pPr algn="ctr">
              <a:defRPr/>
            </a:pPr>
            <a:r>
              <a:rPr lang="ru-RU" sz="1600" b="1" u="sng" kern="0" cap="all" dirty="0" smtClean="0">
                <a:solidFill>
                  <a:prstClr val="white"/>
                </a:solidFill>
                <a:latin typeface="Times New Roman" pitchFamily="18" charset="0"/>
                <a:cs typeface="Times New Roman" panose="02020603050405020304" pitchFamily="18" charset="0"/>
              </a:rPr>
              <a:t>за 2020-2025 года</a:t>
            </a:r>
            <a:endParaRPr lang="ru-RU" sz="1600" b="1" u="sng" kern="0" cap="all" dirty="0">
              <a:solidFill>
                <a:prstClr val="white"/>
              </a:solidFill>
              <a:latin typeface="Times New Roman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54" y="116635"/>
            <a:ext cx="665163" cy="80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708" name="Picture 10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898" y="36477"/>
            <a:ext cx="3219451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709" name="Picture 10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727" y="519065"/>
            <a:ext cx="38592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8145731"/>
              </p:ext>
            </p:extLst>
          </p:nvPr>
        </p:nvGraphicFramePr>
        <p:xfrm>
          <a:off x="251555" y="1124745"/>
          <a:ext cx="4320479" cy="5599561"/>
        </p:xfrm>
        <a:graphic>
          <a:graphicData uri="http://schemas.openxmlformats.org/drawingml/2006/table">
            <a:tbl>
              <a:tblPr/>
              <a:tblGrid>
                <a:gridCol w="1201937"/>
                <a:gridCol w="519757"/>
                <a:gridCol w="519757"/>
                <a:gridCol w="519757"/>
                <a:gridCol w="519757"/>
                <a:gridCol w="519757"/>
                <a:gridCol w="519757"/>
              </a:tblGrid>
              <a:tr h="504055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пределение смертельных несчастных случаев по классам опасности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32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59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 опасности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329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329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329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I </a:t>
                      </a: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329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V </a:t>
                      </a: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9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ергонадзо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5907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 по Управлению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125260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150113">
                <a:tc gridSpan="7"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этом несчастные случаи на ОПО IV класса опасности в 92% случаев произошли при эксплуатации подъемных механизмов 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2025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3;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;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4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 2020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3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.</a:t>
                      </a:r>
                    </a:p>
                    <a:p>
                      <a:pPr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новные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ъекты, на которых происходят смертельные несчастные случаи – это 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АХТЫ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60% от общего количества за период 2020-2025 года) 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3423596132"/>
              </p:ext>
            </p:extLst>
          </p:nvPr>
        </p:nvGraphicFramePr>
        <p:xfrm>
          <a:off x="4440710" y="1052736"/>
          <a:ext cx="4703327" cy="5544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129122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076</TotalTime>
  <Words>3062</Words>
  <Application>Microsoft Office PowerPoint</Application>
  <PresentationFormat>Экран (4:3)</PresentationFormat>
  <Paragraphs>1195</Paragraphs>
  <Slides>20</Slides>
  <Notes>20</Notes>
  <HiddenSlides>0</HiddenSlides>
  <MMClips>0</MMClips>
  <ScaleCrop>false</ScaleCrop>
  <HeadingPairs>
    <vt:vector size="6" baseType="variant">
      <vt:variant>
        <vt:lpstr>Тема</vt:lpstr>
      </vt:variant>
      <vt:variant>
        <vt:i4>1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4" baseType="lpstr">
      <vt:lpstr>4_Тема Office</vt:lpstr>
      <vt:lpstr>20_Тема Office</vt:lpstr>
      <vt:lpstr>1_Тема Office</vt:lpstr>
      <vt:lpstr>2_Тема Office</vt:lpstr>
      <vt:lpstr>8_Тема Office</vt:lpstr>
      <vt:lpstr>10_Тема Office</vt:lpstr>
      <vt:lpstr>7_Тема Office</vt:lpstr>
      <vt:lpstr>3_Тема Office</vt:lpstr>
      <vt:lpstr>5_Тема Office</vt:lpstr>
      <vt:lpstr>12_Тема Office</vt:lpstr>
      <vt:lpstr>13_Тема Office</vt:lpstr>
      <vt:lpstr>14_Тема Office</vt:lpstr>
      <vt:lpstr>15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ерксен Ольга Дмитриевна</dc:creator>
  <cp:lastModifiedBy>Ольга Дмитриевна Дерксен</cp:lastModifiedBy>
  <cp:revision>829</cp:revision>
  <cp:lastPrinted>2026-01-27T01:54:19Z</cp:lastPrinted>
  <dcterms:created xsi:type="dcterms:W3CDTF">2022-09-30T06:45:04Z</dcterms:created>
  <dcterms:modified xsi:type="dcterms:W3CDTF">2026-02-18T09:23:41Z</dcterms:modified>
</cp:coreProperties>
</file>